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8"/>
    <p:sldMasterId id="2147483665" r:id="rId9"/>
  </p:sldMasterIdLst>
  <p:notesMasterIdLst>
    <p:notesMasterId r:id="rId31"/>
  </p:notesMasterIdLst>
  <p:handoutMasterIdLst>
    <p:handoutMasterId r:id="rId32"/>
  </p:handoutMasterIdLst>
  <p:sldIdLst>
    <p:sldId id="256" r:id="rId10"/>
    <p:sldId id="772" r:id="rId11"/>
    <p:sldId id="372" r:id="rId12"/>
    <p:sldId id="375" r:id="rId13"/>
    <p:sldId id="398" r:id="rId14"/>
    <p:sldId id="399" r:id="rId15"/>
    <p:sldId id="400" r:id="rId16"/>
    <p:sldId id="9378" r:id="rId17"/>
    <p:sldId id="774" r:id="rId18"/>
    <p:sldId id="775" r:id="rId19"/>
    <p:sldId id="776" r:id="rId20"/>
    <p:sldId id="777" r:id="rId21"/>
    <p:sldId id="778" r:id="rId22"/>
    <p:sldId id="779" r:id="rId23"/>
    <p:sldId id="9374" r:id="rId24"/>
    <p:sldId id="9321" r:id="rId25"/>
    <p:sldId id="9337" r:id="rId26"/>
    <p:sldId id="9375" r:id="rId27"/>
    <p:sldId id="391" r:id="rId28"/>
    <p:sldId id="9376" r:id="rId29"/>
    <p:sldId id="783" r:id="rId30"/>
  </p:sldIdLst>
  <p:sldSz cx="12192000" cy="6858000"/>
  <p:notesSz cx="6797675" cy="9926638"/>
  <p:embeddedFontLst>
    <p:embeddedFont>
      <p:font typeface="Arial Nova" panose="020B0504020202020204" pitchFamily="34" charset="0"/>
      <p:regular r:id="rId33"/>
      <p:bold r:id="rId34"/>
      <p:italic r:id="rId35"/>
      <p:boldItalic r:id="rId36"/>
    </p:embeddedFont>
    <p:embeddedFont>
      <p:font typeface="Raleway" pitchFamily="2" charset="0"/>
      <p:regular r:id="rId37"/>
      <p:bold r:id="rId38"/>
      <p:italic r:id="rId39"/>
      <p:boldItalic r:id="rId40"/>
    </p:embeddedFont>
    <p:embeddedFont>
      <p:font typeface="Raleway Black" pitchFamily="2" charset="0"/>
      <p:bold r:id="rId41"/>
      <p:boldItalic r:id="rId42"/>
    </p:embeddedFont>
  </p:embeddedFont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3A3A"/>
    <a:srgbClr val="00ADEE"/>
    <a:srgbClr val="4D4D4D"/>
    <a:srgbClr val="58A618"/>
    <a:srgbClr val="C50084"/>
    <a:srgbClr val="7D0063"/>
    <a:srgbClr val="F4911D"/>
    <a:srgbClr val="173D8C"/>
    <a:srgbClr val="6E6E70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4052" autoAdjust="0"/>
  </p:normalViewPr>
  <p:slideViewPr>
    <p:cSldViewPr snapToGrid="0">
      <p:cViewPr varScale="1">
        <p:scale>
          <a:sx n="37" d="100"/>
          <a:sy n="37" d="100"/>
        </p:scale>
        <p:origin x="169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-3648"/>
    </p:cViewPr>
  </p:sorterViewPr>
  <p:notesViewPr>
    <p:cSldViewPr snapToGrid="0">
      <p:cViewPr varScale="1">
        <p:scale>
          <a:sx n="42" d="100"/>
          <a:sy n="42" d="100"/>
        </p:scale>
        <p:origin x="2828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font" Target="fonts/font4.fntdata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notesMaster" Target="notesMasters/notesMaster1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font" Target="fonts/font3.fntdata"/><Relationship Id="rId43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ielkema, Carolien" userId="b8d179ed-c33d-439b-a2dd-a5ea036b4488" providerId="ADAL" clId="{7F1300F5-A21B-44CC-9045-5A5DFC90FF42}"/>
    <pc:docChg chg="modSld">
      <pc:chgData name="Hielkema, Carolien" userId="b8d179ed-c33d-439b-a2dd-a5ea036b4488" providerId="ADAL" clId="{7F1300F5-A21B-44CC-9045-5A5DFC90FF42}" dt="2023-11-23T23:27:06.439" v="16" actId="6549"/>
      <pc:docMkLst>
        <pc:docMk/>
      </pc:docMkLst>
      <pc:sldChg chg="modNotesTx">
        <pc:chgData name="Hielkema, Carolien" userId="b8d179ed-c33d-439b-a2dd-a5ea036b4488" providerId="ADAL" clId="{7F1300F5-A21B-44CC-9045-5A5DFC90FF42}" dt="2023-11-23T23:25:09.243" v="1" actId="6549"/>
        <pc:sldMkLst>
          <pc:docMk/>
          <pc:sldMk cId="2515972008" sldId="372"/>
        </pc:sldMkLst>
      </pc:sldChg>
      <pc:sldChg chg="modNotesTx">
        <pc:chgData name="Hielkema, Carolien" userId="b8d179ed-c33d-439b-a2dd-a5ea036b4488" providerId="ADAL" clId="{7F1300F5-A21B-44CC-9045-5A5DFC90FF42}" dt="2023-11-23T23:26:50.764" v="14" actId="6549"/>
        <pc:sldMkLst>
          <pc:docMk/>
          <pc:sldMk cId="3972074606" sldId="391"/>
        </pc:sldMkLst>
      </pc:sldChg>
      <pc:sldChg chg="modNotesTx">
        <pc:chgData name="Hielkema, Carolien" userId="b8d179ed-c33d-439b-a2dd-a5ea036b4488" providerId="ADAL" clId="{7F1300F5-A21B-44CC-9045-5A5DFC90FF42}" dt="2023-11-23T23:25:19.984" v="2" actId="6549"/>
        <pc:sldMkLst>
          <pc:docMk/>
          <pc:sldMk cId="2898513266" sldId="400"/>
        </pc:sldMkLst>
      </pc:sldChg>
      <pc:sldChg chg="modNotesTx">
        <pc:chgData name="Hielkema, Carolien" userId="b8d179ed-c33d-439b-a2dd-a5ea036b4488" providerId="ADAL" clId="{7F1300F5-A21B-44CC-9045-5A5DFC90FF42}" dt="2023-11-23T23:25:01.583" v="0" actId="6549"/>
        <pc:sldMkLst>
          <pc:docMk/>
          <pc:sldMk cId="2764711766" sldId="772"/>
        </pc:sldMkLst>
      </pc:sldChg>
      <pc:sldChg chg="modNotesTx">
        <pc:chgData name="Hielkema, Carolien" userId="b8d179ed-c33d-439b-a2dd-a5ea036b4488" providerId="ADAL" clId="{7F1300F5-A21B-44CC-9045-5A5DFC90FF42}" dt="2023-11-23T23:25:36.484" v="4" actId="6549"/>
        <pc:sldMkLst>
          <pc:docMk/>
          <pc:sldMk cId="2859568701" sldId="774"/>
        </pc:sldMkLst>
      </pc:sldChg>
      <pc:sldChg chg="modNotesTx">
        <pc:chgData name="Hielkema, Carolien" userId="b8d179ed-c33d-439b-a2dd-a5ea036b4488" providerId="ADAL" clId="{7F1300F5-A21B-44CC-9045-5A5DFC90FF42}" dt="2023-11-23T23:25:45.588" v="5" actId="6549"/>
        <pc:sldMkLst>
          <pc:docMk/>
          <pc:sldMk cId="4237020674" sldId="775"/>
        </pc:sldMkLst>
      </pc:sldChg>
      <pc:sldChg chg="modNotesTx">
        <pc:chgData name="Hielkema, Carolien" userId="b8d179ed-c33d-439b-a2dd-a5ea036b4488" providerId="ADAL" clId="{7F1300F5-A21B-44CC-9045-5A5DFC90FF42}" dt="2023-11-23T23:25:55.461" v="6" actId="6549"/>
        <pc:sldMkLst>
          <pc:docMk/>
          <pc:sldMk cId="4045115827" sldId="776"/>
        </pc:sldMkLst>
      </pc:sldChg>
      <pc:sldChg chg="modNotesTx">
        <pc:chgData name="Hielkema, Carolien" userId="b8d179ed-c33d-439b-a2dd-a5ea036b4488" providerId="ADAL" clId="{7F1300F5-A21B-44CC-9045-5A5DFC90FF42}" dt="2023-11-23T23:26:02.870" v="7" actId="6549"/>
        <pc:sldMkLst>
          <pc:docMk/>
          <pc:sldMk cId="3069631485" sldId="777"/>
        </pc:sldMkLst>
      </pc:sldChg>
      <pc:sldChg chg="modNotesTx">
        <pc:chgData name="Hielkema, Carolien" userId="b8d179ed-c33d-439b-a2dd-a5ea036b4488" providerId="ADAL" clId="{7F1300F5-A21B-44CC-9045-5A5DFC90FF42}" dt="2023-11-23T23:26:11.525" v="8" actId="6549"/>
        <pc:sldMkLst>
          <pc:docMk/>
          <pc:sldMk cId="2605802958" sldId="778"/>
        </pc:sldMkLst>
      </pc:sldChg>
      <pc:sldChg chg="modNotesTx">
        <pc:chgData name="Hielkema, Carolien" userId="b8d179ed-c33d-439b-a2dd-a5ea036b4488" providerId="ADAL" clId="{7F1300F5-A21B-44CC-9045-5A5DFC90FF42}" dt="2023-11-23T23:26:20.889" v="9" actId="6549"/>
        <pc:sldMkLst>
          <pc:docMk/>
          <pc:sldMk cId="2616752416" sldId="779"/>
        </pc:sldMkLst>
      </pc:sldChg>
      <pc:sldChg chg="modNotesTx">
        <pc:chgData name="Hielkema, Carolien" userId="b8d179ed-c33d-439b-a2dd-a5ea036b4488" providerId="ADAL" clId="{7F1300F5-A21B-44CC-9045-5A5DFC90FF42}" dt="2023-11-23T23:27:06.439" v="16" actId="6549"/>
        <pc:sldMkLst>
          <pc:docMk/>
          <pc:sldMk cId="3102145777" sldId="783"/>
        </pc:sldMkLst>
      </pc:sldChg>
      <pc:sldChg chg="modNotesTx">
        <pc:chgData name="Hielkema, Carolien" userId="b8d179ed-c33d-439b-a2dd-a5ea036b4488" providerId="ADAL" clId="{7F1300F5-A21B-44CC-9045-5A5DFC90FF42}" dt="2023-11-23T23:26:34.473" v="11" actId="6549"/>
        <pc:sldMkLst>
          <pc:docMk/>
          <pc:sldMk cId="3864248815" sldId="9321"/>
        </pc:sldMkLst>
      </pc:sldChg>
      <pc:sldChg chg="modNotesTx">
        <pc:chgData name="Hielkema, Carolien" userId="b8d179ed-c33d-439b-a2dd-a5ea036b4488" providerId="ADAL" clId="{7F1300F5-A21B-44CC-9045-5A5DFC90FF42}" dt="2023-11-23T23:26:39.978" v="12" actId="6549"/>
        <pc:sldMkLst>
          <pc:docMk/>
          <pc:sldMk cId="934769270" sldId="9337"/>
        </pc:sldMkLst>
      </pc:sldChg>
      <pc:sldChg chg="modNotesTx">
        <pc:chgData name="Hielkema, Carolien" userId="b8d179ed-c33d-439b-a2dd-a5ea036b4488" providerId="ADAL" clId="{7F1300F5-A21B-44CC-9045-5A5DFC90FF42}" dt="2023-11-23T23:26:26.902" v="10" actId="6549"/>
        <pc:sldMkLst>
          <pc:docMk/>
          <pc:sldMk cId="3939108298" sldId="9374"/>
        </pc:sldMkLst>
      </pc:sldChg>
      <pc:sldChg chg="modNotesTx">
        <pc:chgData name="Hielkema, Carolien" userId="b8d179ed-c33d-439b-a2dd-a5ea036b4488" providerId="ADAL" clId="{7F1300F5-A21B-44CC-9045-5A5DFC90FF42}" dt="2023-11-23T23:26:45.619" v="13" actId="6549"/>
        <pc:sldMkLst>
          <pc:docMk/>
          <pc:sldMk cId="3682670402" sldId="9375"/>
        </pc:sldMkLst>
      </pc:sldChg>
      <pc:sldChg chg="modNotesTx">
        <pc:chgData name="Hielkema, Carolien" userId="b8d179ed-c33d-439b-a2dd-a5ea036b4488" providerId="ADAL" clId="{7F1300F5-A21B-44CC-9045-5A5DFC90FF42}" dt="2023-11-23T23:27:00.378" v="15" actId="6549"/>
        <pc:sldMkLst>
          <pc:docMk/>
          <pc:sldMk cId="2361799064" sldId="9376"/>
        </pc:sldMkLst>
      </pc:sldChg>
      <pc:sldChg chg="modNotesTx">
        <pc:chgData name="Hielkema, Carolien" userId="b8d179ed-c33d-439b-a2dd-a5ea036b4488" providerId="ADAL" clId="{7F1300F5-A21B-44CC-9045-5A5DFC90FF42}" dt="2023-11-23T23:25:28.653" v="3" actId="6549"/>
        <pc:sldMkLst>
          <pc:docMk/>
          <pc:sldMk cId="369076269" sldId="93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69984267-33C1-DAAB-DE42-9B9B9F5388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DFEEAFA-B8E8-38D0-EF3D-424220B9712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6C00C3-BCB9-41B2-84EB-426A9CED4399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3F6609E-DD48-4908-7060-316F76652A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1B72A4C-48D6-A64F-F4AC-09FE8F4B66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650C36-6A5A-4D9D-827F-DCC4ED4677B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1902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B14E01-D506-4692-8D60-E8837AEC7D16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F1E216-24FD-4E10-BE13-DAE366B2C54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662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228288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704850" y="387350"/>
            <a:ext cx="5387975" cy="30321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472061" y="3579450"/>
            <a:ext cx="5853553" cy="6347188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904425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917575" y="711200"/>
            <a:ext cx="4962525" cy="2792413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453178" y="3646658"/>
            <a:ext cx="5903907" cy="493346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1</a:t>
            </a:fld>
            <a:endParaRPr lang="nl-NL"/>
          </a:p>
        </p:txBody>
      </p:sp>
      <p:sp>
        <p:nvSpPr>
          <p:cNvPr id="5" name="Pijl: rechts 4">
            <a:extLst>
              <a:ext uri="{FF2B5EF4-FFF2-40B4-BE49-F238E27FC236}">
                <a16:creationId xmlns:a16="http://schemas.microsoft.com/office/drawing/2014/main" id="{8A1484AA-8C1A-06D9-7FEF-9D2F45765D1D}"/>
              </a:ext>
            </a:extLst>
          </p:cNvPr>
          <p:cNvSpPr/>
          <p:nvPr/>
        </p:nvSpPr>
        <p:spPr>
          <a:xfrm>
            <a:off x="5155632" y="8260081"/>
            <a:ext cx="335280" cy="4571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Vierkante haak rechts 5">
            <a:extLst>
              <a:ext uri="{FF2B5EF4-FFF2-40B4-BE49-F238E27FC236}">
                <a16:creationId xmlns:a16="http://schemas.microsoft.com/office/drawing/2014/main" id="{F2A3BF41-D6E9-AD91-BF99-713189B9E33B}"/>
              </a:ext>
            </a:extLst>
          </p:cNvPr>
          <p:cNvSpPr/>
          <p:nvPr/>
        </p:nvSpPr>
        <p:spPr>
          <a:xfrm>
            <a:off x="6078754" y="10043160"/>
            <a:ext cx="139165" cy="91440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Vierkante haak links 8">
            <a:extLst>
              <a:ext uri="{FF2B5EF4-FFF2-40B4-BE49-F238E27FC236}">
                <a16:creationId xmlns:a16="http://schemas.microsoft.com/office/drawing/2014/main" id="{B9D6B39F-9306-B2A6-BEBF-81248FAC7A78}"/>
              </a:ext>
            </a:extLst>
          </p:cNvPr>
          <p:cNvSpPr/>
          <p:nvPr/>
        </p:nvSpPr>
        <p:spPr>
          <a:xfrm>
            <a:off x="453178" y="10043160"/>
            <a:ext cx="45719" cy="91440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90199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4818557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292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522288" y="509588"/>
            <a:ext cx="5954712" cy="3351212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606108" y="3975022"/>
            <a:ext cx="5787072" cy="5702589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43245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725488" y="523875"/>
            <a:ext cx="5346700" cy="3008313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579120" y="3629429"/>
            <a:ext cx="5623560" cy="6063211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4</a:t>
            </a:fld>
            <a:endParaRPr lang="nl-NL"/>
          </a:p>
        </p:txBody>
      </p:sp>
      <p:sp>
        <p:nvSpPr>
          <p:cNvPr id="5" name="Pijl: rechts 4">
            <a:extLst>
              <a:ext uri="{FF2B5EF4-FFF2-40B4-BE49-F238E27FC236}">
                <a16:creationId xmlns:a16="http://schemas.microsoft.com/office/drawing/2014/main" id="{1EC77612-1A66-7F7F-F37F-4408FD6865AC}"/>
              </a:ext>
            </a:extLst>
          </p:cNvPr>
          <p:cNvSpPr/>
          <p:nvPr/>
        </p:nvSpPr>
        <p:spPr>
          <a:xfrm>
            <a:off x="4709160" y="9402763"/>
            <a:ext cx="426720" cy="4571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442413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251234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1E216-24FD-4E10-BE13-DAE366B2C54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6355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1E216-24FD-4E10-BE13-DAE366B2C54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40938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1E216-24FD-4E10-BE13-DAE366B2C54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24811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4253290"/>
          </a:xfrm>
        </p:spPr>
        <p:txBody>
          <a:bodyPr/>
          <a:lstStyle/>
          <a:p>
            <a:pPr>
              <a:lnSpc>
                <a:spcPct val="114000"/>
              </a:lnSpc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321408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679768" y="4777193"/>
            <a:ext cx="5438140" cy="4651390"/>
          </a:xfrm>
        </p:spPr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54790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101725" y="482600"/>
            <a:ext cx="4795838" cy="269875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548641" y="3288198"/>
            <a:ext cx="5695150" cy="6638440"/>
          </a:xfrm>
        </p:spPr>
        <p:txBody>
          <a:bodyPr/>
          <a:lstStyle/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2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2476619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0731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4321086"/>
          </a:xfrm>
        </p:spPr>
        <p:txBody>
          <a:bodyPr/>
          <a:lstStyle/>
          <a:p>
            <a:pPr>
              <a:lnSpc>
                <a:spcPct val="114000"/>
              </a:lnSpc>
            </a:pPr>
            <a:endParaRPr lang="nl-NL" sz="1600" dirty="0">
              <a:latin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1E216-24FD-4E10-BE13-DAE366B2C54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0479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5194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31257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16633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4854486"/>
          </a:xfrm>
        </p:spPr>
        <p:txBody>
          <a:bodyPr/>
          <a:lstStyle/>
          <a:p>
            <a:pPr>
              <a:lnSpc>
                <a:spcPct val="114000"/>
              </a:lnSpc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53150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17942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969963" y="555625"/>
            <a:ext cx="5081587" cy="2859088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616826" y="3616501"/>
            <a:ext cx="5752847" cy="6130905"/>
          </a:xfrm>
        </p:spPr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1E216-24FD-4E10-BE13-DAE366B2C549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1493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6.sv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4.sv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>
            <a:extLst>
              <a:ext uri="{FF2B5EF4-FFF2-40B4-BE49-F238E27FC236}">
                <a16:creationId xmlns:a16="http://schemas.microsoft.com/office/drawing/2014/main" id="{3CF8C789-62C9-33ED-5D6A-17DF4633FE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040000"/>
            <a:ext cx="12192000" cy="900001"/>
          </a:xfrm>
        </p:spPr>
        <p:txBody>
          <a:bodyPr lIns="108000" tIns="36000" rIns="540000" bIns="36000" anchor="ctr"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56A8655-E8E0-1A9A-5942-CC9DEAC9D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D82423-FBE0-0986-75DE-C2FEE5986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217CDE-DC9A-A326-8B06-FA634B39C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B44C8585-B292-0327-F66A-17E5023E2F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65" y="5914857"/>
            <a:ext cx="3419856" cy="630936"/>
          </a:xfrm>
          <a:prstGeom prst="rect">
            <a:avLst/>
          </a:prstGeom>
        </p:spPr>
      </p:pic>
      <p:sp>
        <p:nvSpPr>
          <p:cNvPr id="15" name="Titel">
            <a:extLst>
              <a:ext uri="{FF2B5EF4-FFF2-40B4-BE49-F238E27FC236}">
                <a16:creationId xmlns:a16="http://schemas.microsoft.com/office/drawing/2014/main" id="{FD16768F-6425-4078-A317-42DEB1CED1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/>
          </p:nvPr>
        </p:nvSpPr>
        <p:spPr>
          <a:xfrm>
            <a:off x="0" y="72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2333 w 12192000"/>
              <a:gd name="connsiteY1" fmla="*/ 0 h 900000"/>
              <a:gd name="connsiteX2" fmla="*/ 11579622 w 12192000"/>
              <a:gd name="connsiteY2" fmla="*/ 733549 h 900000"/>
              <a:gd name="connsiteX3" fmla="*/ 11587702 w 12192000"/>
              <a:gd name="connsiteY3" fmla="*/ 747570 h 900000"/>
              <a:gd name="connsiteX4" fmla="*/ 12027370 w 12192000"/>
              <a:gd name="connsiteY4" fmla="*/ 0 h 900000"/>
              <a:gd name="connsiteX5" fmla="*/ 12041423 w 12192000"/>
              <a:gd name="connsiteY5" fmla="*/ 0 h 900000"/>
              <a:gd name="connsiteX6" fmla="*/ 11640818 w 12192000"/>
              <a:gd name="connsiteY6" fmla="*/ 839738 h 900000"/>
              <a:gd name="connsiteX7" fmla="*/ 11645113 w 12192000"/>
              <a:gd name="connsiteY7" fmla="*/ 847191 h 900000"/>
              <a:gd name="connsiteX8" fmla="*/ 12135099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2333" y="0"/>
                </a:lnTo>
                <a:lnTo>
                  <a:pt x="11579622" y="733549"/>
                </a:lnTo>
                <a:lnTo>
                  <a:pt x="11587702" y="747570"/>
                </a:lnTo>
                <a:lnTo>
                  <a:pt x="12027370" y="0"/>
                </a:lnTo>
                <a:lnTo>
                  <a:pt x="12041423" y="0"/>
                </a:lnTo>
                <a:lnTo>
                  <a:pt x="11640818" y="839738"/>
                </a:lnTo>
                <a:lnTo>
                  <a:pt x="11645113" y="847191"/>
                </a:lnTo>
                <a:lnTo>
                  <a:pt x="12135099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wrap="square" lIns="540000" tIns="36000" rIns="36000" bIns="36000" anchor="ctr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27567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9F9F5373-44F7-8842-4B61-19F0F01717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B3521292-A21C-7D0F-B729-E5FBBBD4F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08214B6-0749-2B7B-FDFB-5140835EB9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21292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0D582-79A8-03D6-3643-9E390A4B8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42066751-0208-82D5-E0DE-1E1A091240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FA34707F-420F-5DA1-BA04-860723AF46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5F5A753-6F8B-A70E-356E-F1FEFE01C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52DC22B-17E4-3AA7-993B-EE77885D4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00A8A626-AFEA-2DFC-0579-B2FD84A47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1458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Naam dia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Naam dia</a:t>
            </a:r>
          </a:p>
        </p:txBody>
      </p:sp>
      <p:sp>
        <p:nvSpPr>
          <p:cNvPr id="43" name="Ondertitel dia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Ondertitel dia</a:t>
            </a:r>
          </a:p>
        </p:txBody>
      </p:sp>
      <p:sp>
        <p:nvSpPr>
          <p:cNvPr id="44" name="Hoofdtekst - niveau één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Dia-opsommingsteks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557434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74844" y="1759937"/>
            <a:ext cx="5765983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4844" y="4752153"/>
            <a:ext cx="5765983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EB76901-D70B-40DB-85D8-4B0CAAE593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76" y="5237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728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8C22B7E-730E-4FA3-AEBD-0EC53A30015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7" y="1470479"/>
            <a:ext cx="3053689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>
              <a:solidFill>
                <a:schemeClr val="bg1"/>
              </a:solidFill>
              <a:latin typeface="Raleway" panose="020B0503030101060003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BDBF24D-4D2F-42A4-AD1C-43B70FC5B5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74842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C8AEEAC-DFBC-44E5-A1A3-F209B8C054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4842" y="4752153"/>
            <a:ext cx="2487266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F0DAB2D-E302-48A2-9568-49B2734ACB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906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FDEB4B6-682E-4009-89BC-CB154E8DC002}"/>
              </a:ext>
            </a:extLst>
          </p:cNvPr>
          <p:cNvSpPr>
            <a:spLocks noChangeAspect="1"/>
          </p:cNvSpPr>
          <p:nvPr userDrawn="1"/>
        </p:nvSpPr>
        <p:spPr>
          <a:xfrm>
            <a:off x="3405717" y="371315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>
              <a:solidFill>
                <a:schemeClr val="bg1"/>
              </a:solidFill>
              <a:latin typeface="Raleway" panose="020B0503030101060003" pitchFamily="34" charset="0"/>
              <a:ea typeface="+mj-ea"/>
              <a:cs typeface="+mj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BABE048-BB93-46AF-B21F-692455B275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183" y="4710484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9">
            <a:extLst>
              <a:ext uri="{FF2B5EF4-FFF2-40B4-BE49-F238E27FC236}">
                <a16:creationId xmlns:a16="http://schemas.microsoft.com/office/drawing/2014/main" id="{9B4976CB-3107-403A-8E4C-49D73E552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127" y="636808"/>
            <a:ext cx="7260639" cy="3950972"/>
          </a:xfrm>
        </p:spPr>
        <p:txBody>
          <a:bodyPr/>
          <a:lstStyle>
            <a:lvl1pPr>
              <a:defRPr lang="en-GB" sz="6601" kern="1200" baseline="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Title slide text only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F974C88-37FD-486C-A053-2B6EC15FFE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403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0E2D7F6-77EE-4A84-A347-E3DE3770F560}"/>
              </a:ext>
            </a:extLst>
          </p:cNvPr>
          <p:cNvGrpSpPr/>
          <p:nvPr userDrawn="1"/>
        </p:nvGrpSpPr>
        <p:grpSpPr>
          <a:xfrm>
            <a:off x="998479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A38D1D5C-300B-4EC8-97CB-72C6B7A7CC7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D721161A-007B-4922-864A-502861C248B2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23EB2905-098A-41C5-AB65-063729C54D07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33C2314-88FE-4413-B812-D2D4A2998E51}"/>
              </a:ext>
            </a:extLst>
          </p:cNvPr>
          <p:cNvSpPr>
            <a:spLocks noChangeAspect="1"/>
          </p:cNvSpPr>
          <p:nvPr userDrawn="1"/>
        </p:nvSpPr>
        <p:spPr>
          <a:xfrm>
            <a:off x="7435788" y="371315"/>
            <a:ext cx="3764025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>
              <a:solidFill>
                <a:schemeClr val="bg1"/>
              </a:solidFill>
              <a:latin typeface="Raleway" panose="020B0503030101060003" pitchFamily="34" charset="0"/>
              <a:ea typeface="+mj-ea"/>
              <a:cs typeface="+mj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C91CE7F-7855-470E-A1C6-7B98C9783C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4" y="4710484"/>
            <a:ext cx="322951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33FD179-5843-4777-B4EF-2C33EA1427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02254" y="636808"/>
            <a:ext cx="3229511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78F7078-5FAB-4923-B594-5A3AB65111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8464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F7AF648-E8C1-435F-A91F-1FCE26666A3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1468384"/>
            <a:ext cx="5885054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1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9E02FE-A18D-433A-B7C5-66327044D5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2338" y="1468384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4255FB05-4B59-458B-8EFD-8DCE3678F3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9" y="112953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en-GB" sz="1801"/>
          </a:p>
        </p:txBody>
      </p:sp>
      <p:sp>
        <p:nvSpPr>
          <p:cNvPr id="12" name="Freeform 19">
            <a:extLst>
              <a:ext uri="{FF2B5EF4-FFF2-40B4-BE49-F238E27FC236}">
                <a16:creationId xmlns:a16="http://schemas.microsoft.com/office/drawing/2014/main" id="{64C954ED-B10B-4AF2-833F-37E615D3439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9" y="1872153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en-GB" sz="1801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BD4AB80-538F-43A3-8C4D-16CCBDE87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8630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C1EA9FA-4164-4EF7-8EA1-6A4010273A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734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626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3022F2F-B43A-41C4-BF6C-3739462B739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8" y="371311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1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E69996B-9D51-47AF-8239-CB068E0662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9910" y="1453787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AE26B475-B5C4-4347-8C21-09E3E42E775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4" y="614970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en-GB" sz="1801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0EC61BC-58E1-4775-ADB9-771F90B82F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C17CDB-6172-4525-81E9-4F0C8DBBA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91561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882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9">
            <a:extLst>
              <a:ext uri="{FF2B5EF4-FFF2-40B4-BE49-F238E27FC236}">
                <a16:creationId xmlns:a16="http://schemas.microsoft.com/office/drawing/2014/main" id="{7C40611E-3A51-447C-B4D9-E63571518EA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9" y="112953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en-GB" sz="1801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477655F7-9771-42CD-A3FF-9B0E744CD3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9" y="1872153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en-GB" sz="1801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00708127-E14A-4909-821A-61F581AA127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92"/>
            <a:ext cx="6283849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1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356C80A-82E6-41A1-8315-DBCCD3E863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92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661CB1-3F0A-461E-B7EF-0DD8759D0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A13EE70-222E-4A80-9783-F68F00B7D3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6895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2DE06AA-7743-DF78-62B5-736E3A5A8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6299" y="1557036"/>
            <a:ext cx="4452625" cy="3831299"/>
          </a:xfrm>
          <a:prstGeom prst="roundRect">
            <a:avLst>
              <a:gd name="adj" fmla="val 3063"/>
            </a:avLst>
          </a:prstGeom>
          <a:gradFill>
            <a:gsLst>
              <a:gs pos="0">
                <a:srgbClr val="C50084"/>
              </a:gs>
              <a:gs pos="50000">
                <a:srgbClr val="C50084"/>
              </a:gs>
              <a:gs pos="80000">
                <a:srgbClr val="C50084">
                  <a:alpha val="75000"/>
                </a:srgbClr>
              </a:gs>
              <a:gs pos="100000">
                <a:srgbClr val="C50084">
                  <a:alpha val="45000"/>
                </a:srgbClr>
              </a:gs>
            </a:gsLst>
            <a:lin ang="10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chemeClr val="lt1"/>
                </a:solidFill>
                <a:latin typeface="Raleway" panose="020B0503030101060003" pitchFamily="34" charset="0"/>
              </a:defRPr>
            </a:lvl1pPr>
          </a:lstStyle>
          <a:p>
            <a:pPr lvl="0" algn="ctr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F32D226-08EC-0551-D362-70A6D462A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3" y="1557037"/>
            <a:ext cx="468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BB6F5175-485E-C5CA-2917-771ED8A64A7B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555703" y="2594137"/>
            <a:ext cx="468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ijdelijke aanduiding voor tekst 3">
            <a:extLst>
              <a:ext uri="{FF2B5EF4-FFF2-40B4-BE49-F238E27FC236}">
                <a16:creationId xmlns:a16="http://schemas.microsoft.com/office/drawing/2014/main" id="{48394CB7-457A-F302-4AF0-F95B343F898C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555703" y="3631237"/>
            <a:ext cx="468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jdelijke aanduiding voor tekst 3">
            <a:extLst>
              <a:ext uri="{FF2B5EF4-FFF2-40B4-BE49-F238E27FC236}">
                <a16:creationId xmlns:a16="http://schemas.microsoft.com/office/drawing/2014/main" id="{98B5FDEA-21D6-DD3D-C8F4-01DA053B0EE7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555703" y="4668336"/>
            <a:ext cx="468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1D14253E-7F9B-1268-FB0F-A2543A12B6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651 w 12192000"/>
              <a:gd name="connsiteY1" fmla="*/ 0 h 900000"/>
              <a:gd name="connsiteX2" fmla="*/ 11579622 w 12192000"/>
              <a:gd name="connsiteY2" fmla="*/ 729949 h 900000"/>
              <a:gd name="connsiteX3" fmla="*/ 11587702 w 12192000"/>
              <a:gd name="connsiteY3" fmla="*/ 743970 h 900000"/>
              <a:gd name="connsiteX4" fmla="*/ 12025253 w 12192000"/>
              <a:gd name="connsiteY4" fmla="*/ 0 h 900000"/>
              <a:gd name="connsiteX5" fmla="*/ 12039705 w 12192000"/>
              <a:gd name="connsiteY5" fmla="*/ 0 h 900000"/>
              <a:gd name="connsiteX6" fmla="*/ 11640818 w 12192000"/>
              <a:gd name="connsiteY6" fmla="*/ 836138 h 900000"/>
              <a:gd name="connsiteX7" fmla="*/ 11645113 w 12192000"/>
              <a:gd name="connsiteY7" fmla="*/ 843591 h 900000"/>
              <a:gd name="connsiteX8" fmla="*/ 12133017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651" y="0"/>
                </a:lnTo>
                <a:lnTo>
                  <a:pt x="11579622" y="729949"/>
                </a:lnTo>
                <a:lnTo>
                  <a:pt x="11587702" y="743970"/>
                </a:lnTo>
                <a:lnTo>
                  <a:pt x="12025253" y="0"/>
                </a:lnTo>
                <a:lnTo>
                  <a:pt x="12039705" y="0"/>
                </a:lnTo>
                <a:lnTo>
                  <a:pt x="11640818" y="836138"/>
                </a:lnTo>
                <a:lnTo>
                  <a:pt x="11645113" y="843591"/>
                </a:lnTo>
                <a:lnTo>
                  <a:pt x="12133017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>
              <a:defRPr lang="nl-NL"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4510464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529CB1A-1B72-48E4-9F89-031545C1FD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81" y="1456392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068A8D8B-EF5A-4905-83FB-5B545573C07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9" y="614970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1A2E6BF4-8839-4971-8A92-E4187724BD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9" y="135759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8A49F3C-B81B-486A-8AC6-0C685BBE02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81" y="5007009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01A53E6-C071-4F04-8874-C1213CB3BE6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8969" y="371311"/>
            <a:ext cx="3764558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1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295ABE6-9B30-4315-B16F-C7442D3C71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47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7">
            <a:hlinkClick r:id="" action="ppaction://noaction"/>
            <a:extLst>
              <a:ext uri="{FF2B5EF4-FFF2-40B4-BE49-F238E27FC236}">
                <a16:creationId xmlns:a16="http://schemas.microsoft.com/office/drawing/2014/main" id="{DD6757AC-3B1B-4321-AE5C-803C87C85566}"/>
              </a:ext>
            </a:extLst>
          </p:cNvPr>
          <p:cNvSpPr/>
          <p:nvPr userDrawn="1"/>
        </p:nvSpPr>
        <p:spPr>
          <a:xfrm>
            <a:off x="761999" y="168728"/>
            <a:ext cx="2657476" cy="365760"/>
          </a:xfrm>
          <a:prstGeom prst="rect">
            <a:avLst/>
          </a:prstGeom>
          <a:solidFill>
            <a:srgbClr val="BFBFBF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Inleiding tot het Klimaatcommitment</a:t>
            </a: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DD1ABCB6-B66B-4CBB-AEBB-DAB6DED70E68}"/>
              </a:ext>
            </a:extLst>
          </p:cNvPr>
          <p:cNvSpPr/>
          <p:nvPr userDrawn="1"/>
        </p:nvSpPr>
        <p:spPr>
          <a:xfrm>
            <a:off x="3425129" y="167999"/>
            <a:ext cx="2660904" cy="365760"/>
          </a:xfrm>
          <a:prstGeom prst="rect">
            <a:avLst/>
          </a:prstGeom>
          <a:solidFill>
            <a:srgbClr val="BFBFBF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Managementsamenvatting</a:t>
            </a: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C012CD03-DEC8-4921-90BE-E091EE78D1C6}"/>
              </a:ext>
            </a:extLst>
          </p:cNvPr>
          <p:cNvSpPr/>
          <p:nvPr userDrawn="1"/>
        </p:nvSpPr>
        <p:spPr>
          <a:xfrm>
            <a:off x="6091687" y="167999"/>
            <a:ext cx="2660904" cy="365760"/>
          </a:xfrm>
          <a:prstGeom prst="rect">
            <a:avLst/>
          </a:prstGeom>
          <a:solidFill>
            <a:schemeClr val="tx2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nalyse van de actieplannen</a:t>
            </a: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03B8BD27-E48D-41D2-BD1D-1EB70E1C2880}"/>
              </a:ext>
            </a:extLst>
          </p:cNvPr>
          <p:cNvSpPr/>
          <p:nvPr userDrawn="1"/>
        </p:nvSpPr>
        <p:spPr>
          <a:xfrm>
            <a:off x="8758244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9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ppendices</a:t>
            </a:r>
          </a:p>
        </p:txBody>
      </p:sp>
    </p:spTree>
    <p:extLst>
      <p:ext uri="{BB962C8B-B14F-4D97-AF65-F5344CB8AC3E}">
        <p14:creationId xmlns:p14="http://schemas.microsoft.com/office/powerpoint/2010/main" val="11531731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7">
            <a:hlinkClick r:id="" action="ppaction://noaction"/>
            <a:extLst>
              <a:ext uri="{FF2B5EF4-FFF2-40B4-BE49-F238E27FC236}">
                <a16:creationId xmlns:a16="http://schemas.microsoft.com/office/drawing/2014/main" id="{DD6757AC-3B1B-4321-AE5C-803C87C85566}"/>
              </a:ext>
            </a:extLst>
          </p:cNvPr>
          <p:cNvSpPr/>
          <p:nvPr userDrawn="1"/>
        </p:nvSpPr>
        <p:spPr>
          <a:xfrm>
            <a:off x="761999" y="168728"/>
            <a:ext cx="2657476" cy="365760"/>
          </a:xfrm>
          <a:prstGeom prst="rect">
            <a:avLst/>
          </a:prstGeom>
          <a:solidFill>
            <a:srgbClr val="BFBFBF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Inleiding tot het Klimaatcommitment</a:t>
            </a: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DD1ABCB6-B66B-4CBB-AEBB-DAB6DED70E68}"/>
              </a:ext>
            </a:extLst>
          </p:cNvPr>
          <p:cNvSpPr/>
          <p:nvPr userDrawn="1"/>
        </p:nvSpPr>
        <p:spPr>
          <a:xfrm>
            <a:off x="3425129" y="167999"/>
            <a:ext cx="2660904" cy="365760"/>
          </a:xfrm>
          <a:prstGeom prst="rect">
            <a:avLst/>
          </a:prstGeom>
          <a:solidFill>
            <a:schemeClr val="tx2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Managementsamenvatting</a:t>
            </a: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C012CD03-DEC8-4921-90BE-E091EE78D1C6}"/>
              </a:ext>
            </a:extLst>
          </p:cNvPr>
          <p:cNvSpPr/>
          <p:nvPr userDrawn="1"/>
        </p:nvSpPr>
        <p:spPr>
          <a:xfrm>
            <a:off x="6091687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nalyse van de actieplannen</a:t>
            </a: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03B8BD27-E48D-41D2-BD1D-1EB70E1C2880}"/>
              </a:ext>
            </a:extLst>
          </p:cNvPr>
          <p:cNvSpPr/>
          <p:nvPr userDrawn="1"/>
        </p:nvSpPr>
        <p:spPr>
          <a:xfrm>
            <a:off x="8758244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9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ppendices</a:t>
            </a:r>
          </a:p>
        </p:txBody>
      </p:sp>
    </p:spTree>
    <p:extLst>
      <p:ext uri="{BB962C8B-B14F-4D97-AF65-F5344CB8AC3E}">
        <p14:creationId xmlns:p14="http://schemas.microsoft.com/office/powerpoint/2010/main" val="29736982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hlinkClick r:id="" action="ppaction://noaction"/>
            <a:extLst>
              <a:ext uri="{FF2B5EF4-FFF2-40B4-BE49-F238E27FC236}">
                <a16:creationId xmlns:a16="http://schemas.microsoft.com/office/drawing/2014/main" id="{43631BEA-34C7-4FF8-8318-E76BDB70E7B4}"/>
              </a:ext>
            </a:extLst>
          </p:cNvPr>
          <p:cNvSpPr/>
          <p:nvPr userDrawn="1"/>
        </p:nvSpPr>
        <p:spPr>
          <a:xfrm>
            <a:off x="761999" y="168728"/>
            <a:ext cx="2657476" cy="365760"/>
          </a:xfrm>
          <a:prstGeom prst="rect">
            <a:avLst/>
          </a:prstGeom>
          <a:solidFill>
            <a:schemeClr val="accent2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Inleiding tot het Klimaatcommitment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D91CCAA1-C9F8-4CBE-9D7A-06A1B5D77888}"/>
              </a:ext>
            </a:extLst>
          </p:cNvPr>
          <p:cNvSpPr/>
          <p:nvPr userDrawn="1"/>
        </p:nvSpPr>
        <p:spPr>
          <a:xfrm>
            <a:off x="3425129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Managementsamenvatting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6043EABC-0879-4DA0-9C72-5B1CBA974828}"/>
              </a:ext>
            </a:extLst>
          </p:cNvPr>
          <p:cNvSpPr/>
          <p:nvPr userDrawn="1"/>
        </p:nvSpPr>
        <p:spPr>
          <a:xfrm>
            <a:off x="6091687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nalyse van de actieplannen</a:t>
            </a:r>
          </a:p>
        </p:txBody>
      </p:sp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FE5BDAA6-07E2-4332-A05C-970090DB3C17}"/>
              </a:ext>
            </a:extLst>
          </p:cNvPr>
          <p:cNvSpPr/>
          <p:nvPr userDrawn="1"/>
        </p:nvSpPr>
        <p:spPr>
          <a:xfrm>
            <a:off x="8758244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9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ppendices</a:t>
            </a:r>
          </a:p>
        </p:txBody>
      </p:sp>
    </p:spTree>
    <p:extLst>
      <p:ext uri="{BB962C8B-B14F-4D97-AF65-F5344CB8AC3E}">
        <p14:creationId xmlns:p14="http://schemas.microsoft.com/office/powerpoint/2010/main" val="19273719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hlinkClick r:id="" action="ppaction://noaction"/>
            <a:extLst>
              <a:ext uri="{FF2B5EF4-FFF2-40B4-BE49-F238E27FC236}">
                <a16:creationId xmlns:a16="http://schemas.microsoft.com/office/drawing/2014/main" id="{43631BEA-34C7-4FF8-8318-E76BDB70E7B4}"/>
              </a:ext>
            </a:extLst>
          </p:cNvPr>
          <p:cNvSpPr/>
          <p:nvPr userDrawn="1"/>
        </p:nvSpPr>
        <p:spPr>
          <a:xfrm>
            <a:off x="761999" y="168728"/>
            <a:ext cx="2657476" cy="365760"/>
          </a:xfrm>
          <a:prstGeom prst="rect">
            <a:avLst/>
          </a:prstGeom>
          <a:solidFill>
            <a:srgbClr val="BFBFBF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Inleiding tot het Klimaatcommitment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D91CCAA1-C9F8-4CBE-9D7A-06A1B5D77888}"/>
              </a:ext>
            </a:extLst>
          </p:cNvPr>
          <p:cNvSpPr/>
          <p:nvPr userDrawn="1"/>
        </p:nvSpPr>
        <p:spPr>
          <a:xfrm>
            <a:off x="3425129" y="167999"/>
            <a:ext cx="2660904" cy="365760"/>
          </a:xfrm>
          <a:prstGeom prst="rect">
            <a:avLst/>
          </a:prstGeom>
          <a:solidFill>
            <a:srgbClr val="BFBFBF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Managementsamenvatting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6043EABC-0879-4DA0-9C72-5B1CBA974828}"/>
              </a:ext>
            </a:extLst>
          </p:cNvPr>
          <p:cNvSpPr/>
          <p:nvPr userDrawn="1"/>
        </p:nvSpPr>
        <p:spPr>
          <a:xfrm>
            <a:off x="6091687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nalyse van de actieplannen</a:t>
            </a:r>
          </a:p>
        </p:txBody>
      </p:sp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FE5BDAA6-07E2-4332-A05C-970090DB3C17}"/>
              </a:ext>
            </a:extLst>
          </p:cNvPr>
          <p:cNvSpPr/>
          <p:nvPr userDrawn="1"/>
        </p:nvSpPr>
        <p:spPr>
          <a:xfrm>
            <a:off x="8758244" y="167999"/>
            <a:ext cx="2660904" cy="365760"/>
          </a:xfrm>
          <a:prstGeom prst="rect">
            <a:avLst/>
          </a:prstGeom>
          <a:solidFill>
            <a:srgbClr val="00338D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9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ppendices</a:t>
            </a:r>
          </a:p>
        </p:txBody>
      </p:sp>
    </p:spTree>
    <p:extLst>
      <p:ext uri="{BB962C8B-B14F-4D97-AF65-F5344CB8AC3E}">
        <p14:creationId xmlns:p14="http://schemas.microsoft.com/office/powerpoint/2010/main" val="823577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hlinkClick r:id="" action="ppaction://noaction"/>
            <a:extLst>
              <a:ext uri="{FF2B5EF4-FFF2-40B4-BE49-F238E27FC236}">
                <a16:creationId xmlns:a16="http://schemas.microsoft.com/office/drawing/2014/main" id="{43631BEA-34C7-4FF8-8318-E76BDB70E7B4}"/>
              </a:ext>
            </a:extLst>
          </p:cNvPr>
          <p:cNvSpPr/>
          <p:nvPr userDrawn="1"/>
        </p:nvSpPr>
        <p:spPr>
          <a:xfrm>
            <a:off x="761999" y="168728"/>
            <a:ext cx="2657476" cy="365760"/>
          </a:xfrm>
          <a:prstGeom prst="rect">
            <a:avLst/>
          </a:prstGeom>
          <a:solidFill>
            <a:srgbClr val="BFBFBF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Inleiding tot het Klimaatcommitment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D91CCAA1-C9F8-4CBE-9D7A-06A1B5D77888}"/>
              </a:ext>
            </a:extLst>
          </p:cNvPr>
          <p:cNvSpPr/>
          <p:nvPr userDrawn="1"/>
        </p:nvSpPr>
        <p:spPr>
          <a:xfrm>
            <a:off x="3425129" y="167999"/>
            <a:ext cx="2660904" cy="365760"/>
          </a:xfrm>
          <a:prstGeom prst="rect">
            <a:avLst/>
          </a:prstGeom>
          <a:solidFill>
            <a:schemeClr val="tx2"/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Managementsamenvatting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6043EABC-0879-4DA0-9C72-5B1CBA974828}"/>
              </a:ext>
            </a:extLst>
          </p:cNvPr>
          <p:cNvSpPr/>
          <p:nvPr userDrawn="1"/>
        </p:nvSpPr>
        <p:spPr>
          <a:xfrm>
            <a:off x="6091687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nalyse van de actieplannen</a:t>
            </a:r>
          </a:p>
        </p:txBody>
      </p:sp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FE5BDAA6-07E2-4332-A05C-970090DB3C17}"/>
              </a:ext>
            </a:extLst>
          </p:cNvPr>
          <p:cNvSpPr/>
          <p:nvPr userDrawn="1"/>
        </p:nvSpPr>
        <p:spPr>
          <a:xfrm>
            <a:off x="8758244" y="167999"/>
            <a:ext cx="2660904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9">
              <a:defRPr/>
            </a:pPr>
            <a:r>
              <a:rPr lang="nl-NL" sz="1800" dirty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rPr>
              <a:t>Appendices</a:t>
            </a:r>
          </a:p>
        </p:txBody>
      </p:sp>
    </p:spTree>
    <p:extLst>
      <p:ext uri="{BB962C8B-B14F-4D97-AF65-F5344CB8AC3E}">
        <p14:creationId xmlns:p14="http://schemas.microsoft.com/office/powerpoint/2010/main" val="40629746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ACE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9168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7"/>
            <a:ext cx="242487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1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1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7000"/>
            <a:ext cx="4623067" cy="9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 Accountants N.V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phic 8">
            <a:extLst>
              <a:ext uri="{FF2B5EF4-FFF2-40B4-BE49-F238E27FC236}">
                <a16:creationId xmlns:a16="http://schemas.microsoft.com/office/drawing/2014/main" id="{67E4BFF9-F85A-4638-ADE5-87FB48B6ED46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1"/>
          </a:p>
        </p:txBody>
      </p:sp>
    </p:spTree>
    <p:extLst>
      <p:ext uri="{BB962C8B-B14F-4D97-AF65-F5344CB8AC3E}">
        <p14:creationId xmlns:p14="http://schemas.microsoft.com/office/powerpoint/2010/main" val="1700387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80772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9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7205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2DE06AA-7743-DF78-62B5-736E3A5A8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6299" y="1557036"/>
            <a:ext cx="4452625" cy="3831299"/>
          </a:xfrm>
          <a:prstGeom prst="roundRect">
            <a:avLst>
              <a:gd name="adj" fmla="val 3063"/>
            </a:avLst>
          </a:prstGeom>
          <a:solidFill>
            <a:srgbClr val="C5008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chemeClr val="lt1"/>
                </a:solidFill>
                <a:latin typeface="Raleway" panose="020B0503030101060003" pitchFamily="34" charset="0"/>
              </a:defRPr>
            </a:lvl1pPr>
          </a:lstStyle>
          <a:p>
            <a:pPr lvl="0" algn="ctr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F32D226-08EC-0551-D362-70A6D462A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3" y="1557037"/>
            <a:ext cx="468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BB6F5175-485E-C5CA-2917-771ED8A64A7B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555703" y="2594137"/>
            <a:ext cx="468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ijdelijke aanduiding voor tekst 3">
            <a:extLst>
              <a:ext uri="{FF2B5EF4-FFF2-40B4-BE49-F238E27FC236}">
                <a16:creationId xmlns:a16="http://schemas.microsoft.com/office/drawing/2014/main" id="{48394CB7-457A-F302-4AF0-F95B343F898C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555703" y="3631237"/>
            <a:ext cx="468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jdelijke aanduiding voor tekst 3">
            <a:extLst>
              <a:ext uri="{FF2B5EF4-FFF2-40B4-BE49-F238E27FC236}">
                <a16:creationId xmlns:a16="http://schemas.microsoft.com/office/drawing/2014/main" id="{98B5FDEA-21D6-DD3D-C8F4-01DA053B0EE7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555703" y="4668336"/>
            <a:ext cx="468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2A36AC5A-B661-DD3F-E72A-00E935AF63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651 w 12192000"/>
              <a:gd name="connsiteY1" fmla="*/ 0 h 900000"/>
              <a:gd name="connsiteX2" fmla="*/ 11579622 w 12192000"/>
              <a:gd name="connsiteY2" fmla="*/ 729949 h 900000"/>
              <a:gd name="connsiteX3" fmla="*/ 11587702 w 12192000"/>
              <a:gd name="connsiteY3" fmla="*/ 743970 h 900000"/>
              <a:gd name="connsiteX4" fmla="*/ 12025253 w 12192000"/>
              <a:gd name="connsiteY4" fmla="*/ 0 h 900000"/>
              <a:gd name="connsiteX5" fmla="*/ 12039705 w 12192000"/>
              <a:gd name="connsiteY5" fmla="*/ 0 h 900000"/>
              <a:gd name="connsiteX6" fmla="*/ 11640818 w 12192000"/>
              <a:gd name="connsiteY6" fmla="*/ 836138 h 900000"/>
              <a:gd name="connsiteX7" fmla="*/ 11645113 w 12192000"/>
              <a:gd name="connsiteY7" fmla="*/ 843591 h 900000"/>
              <a:gd name="connsiteX8" fmla="*/ 12133017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651" y="0"/>
                </a:lnTo>
                <a:lnTo>
                  <a:pt x="11579622" y="729949"/>
                </a:lnTo>
                <a:lnTo>
                  <a:pt x="11587702" y="743970"/>
                </a:lnTo>
                <a:lnTo>
                  <a:pt x="12025253" y="0"/>
                </a:lnTo>
                <a:lnTo>
                  <a:pt x="12039705" y="0"/>
                </a:lnTo>
                <a:lnTo>
                  <a:pt x="11640818" y="836138"/>
                </a:lnTo>
                <a:lnTo>
                  <a:pt x="11645113" y="843591"/>
                </a:lnTo>
                <a:lnTo>
                  <a:pt x="12133017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>
              <a:defRPr lang="nl-NL"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787486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9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1" indent="-180974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7"/>
            <a:ext cx="242487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1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1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919669-F96A-4239-990D-B48E0AE68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20156" y="6295539"/>
            <a:ext cx="2013840" cy="9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1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7000"/>
            <a:ext cx="4623067" cy="184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  <a:endParaRPr lang="en-GB" sz="601" kern="120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8D073B6C-A3F6-459D-BC13-DC57D78ED58C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1"/>
          </a:p>
        </p:txBody>
      </p:sp>
    </p:spTree>
    <p:extLst>
      <p:ext uri="{BB962C8B-B14F-4D97-AF65-F5344CB8AC3E}">
        <p14:creationId xmlns:p14="http://schemas.microsoft.com/office/powerpoint/2010/main" val="368097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7"/>
            <a:ext cx="242487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1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1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96360" y="6295539"/>
            <a:ext cx="1937636" cy="9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1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7000"/>
            <a:ext cx="4623067" cy="184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1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98B95CDD-2ABB-4477-9BBC-48463CC47FEF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1"/>
          </a:p>
        </p:txBody>
      </p:sp>
    </p:spTree>
    <p:extLst>
      <p:ext uri="{BB962C8B-B14F-4D97-AF65-F5344CB8AC3E}">
        <p14:creationId xmlns:p14="http://schemas.microsoft.com/office/powerpoint/2010/main" val="15652828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19801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7"/>
            <a:ext cx="242487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1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1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64607" y="6295539"/>
            <a:ext cx="1969388" cy="9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1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7000"/>
            <a:ext cx="4623067" cy="184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2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26EE2363-59EE-4324-9D1D-5A7467133FB7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1"/>
          </a:p>
        </p:txBody>
      </p:sp>
    </p:spTree>
    <p:extLst>
      <p:ext uri="{BB962C8B-B14F-4D97-AF65-F5344CB8AC3E}">
        <p14:creationId xmlns:p14="http://schemas.microsoft.com/office/powerpoint/2010/main" val="14816153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10785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92809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4942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7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7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71554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03200" y="3500438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1"/>
                </a:solidFill>
                <a:latin typeface="Raleway" panose="020B0503030101060003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2433" y="3500438"/>
            <a:ext cx="2448000" cy="646331"/>
          </a:xfrm>
        </p:spPr>
        <p:txBody>
          <a:bodyPr>
            <a:spAutoFit/>
          </a:bodyPr>
          <a:lstStyle>
            <a:lvl1pPr>
              <a:defRPr sz="2400">
                <a:latin typeface="Raleway" panose="020B0503030101060003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1567" y="3500438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4"/>
                </a:solidFill>
                <a:latin typeface="Raleway" panose="020B0503030101060003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D499DA-AB3A-42FA-AEC3-59074A9B14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33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0087E5F-B6BA-4B21-AEE1-13ECBDE2B7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2433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87444CB-F6F1-40E7-BD1A-43812BC02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61567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BF16C7DF-AAFB-48BF-9719-BEDB49FA0EA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7407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E82B65-4225-4835-9D11-414E80A480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40700" y="3500438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5"/>
                </a:solidFill>
                <a:latin typeface="Raleway" panose="020B0503030101060003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 dirty="0"/>
              <a:t>Partner Name</a:t>
            </a:r>
          </a:p>
          <a:p>
            <a:pPr lvl="1"/>
            <a:r>
              <a:rPr lang="en-US" dirty="0"/>
              <a:t>Secto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24AF4F7-6286-4F12-8CC6-9D3D2C2EA2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7955" y="1330328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39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1"/>
              </a:spcAft>
              <a:buFontTx/>
              <a:buNone/>
            </a:pPr>
            <a:r>
              <a:rPr lang="en-US"/>
              <a:t>01</a:t>
            </a:r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1AAB6E-94B2-4E91-9CEB-50E84434F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95362" y="4343404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41DA198-669A-415B-9D0E-89D5BDCB8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2433" y="4343404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DC5114C-C3D2-49E7-A38D-466F95B5A2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61567" y="4343404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468C94C-268F-4547-8993-7B47FB365E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0700" y="4343404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CA373DA8-5766-4E27-AB6B-2D49F7E784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37087" y="1330328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39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1"/>
              </a:spcAft>
              <a:buFontTx/>
              <a:buNone/>
            </a:pPr>
            <a:r>
              <a:rPr lang="en-US"/>
              <a:t>02</a:t>
            </a:r>
            <a:endParaRPr lang="en-GB"/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72EC7370-28C3-4DEF-9936-6044EC44F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6220" y="1330328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39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1"/>
              </a:spcAft>
              <a:buFontTx/>
              <a:buNone/>
            </a:pPr>
            <a:r>
              <a:rPr lang="en-US"/>
              <a:t>03</a:t>
            </a:r>
            <a:endParaRPr lang="en-GB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A9841A3-E975-4AA0-932D-99A38F3619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95353" y="1330328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39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1"/>
              </a:spcAft>
              <a:buFontTx/>
              <a:buNone/>
            </a:pPr>
            <a:r>
              <a:rPr lang="en-US"/>
              <a:t>0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34581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3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3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6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9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63865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F32D226-08EC-0551-D362-70A6D462A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3" y="1557036"/>
            <a:ext cx="2520000" cy="4320000"/>
          </a:xfrm>
          <a:prstGeom prst="roundRect">
            <a:avLst>
              <a:gd name="adj" fmla="val 6630"/>
            </a:avLst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180000" rtlCol="0" anchor="t"/>
          <a:lstStyle>
            <a:lvl1pPr marL="0" indent="0">
              <a:buFont typeface="Arial" panose="020B0604020202020204" pitchFamily="34" charset="0"/>
              <a:buNone/>
              <a:defRPr lang="nl-NL" sz="1800" dirty="0">
                <a:solidFill>
                  <a:srgbClr val="6E6E70"/>
                </a:solidFill>
                <a:latin typeface="Raleway" panose="020B0503030101060003" pitchFamily="34" charset="0"/>
              </a:defRPr>
            </a:lvl1pPr>
            <a:lvl2pPr marL="252000" indent="0">
              <a:buFont typeface="Arial" panose="020B0604020202020204" pitchFamily="34" charset="0"/>
              <a:buNone/>
              <a:defRPr sz="1600">
                <a:solidFill>
                  <a:srgbClr val="6E6E70"/>
                </a:solidFill>
              </a:defRPr>
            </a:lvl2pPr>
            <a:lvl3pPr marL="504000" indent="0">
              <a:buFont typeface="Arial" panose="020B0604020202020204" pitchFamily="34" charset="0"/>
              <a:buNone/>
              <a:defRPr sz="1400">
                <a:solidFill>
                  <a:srgbClr val="6E6E70"/>
                </a:solidFill>
              </a:defRPr>
            </a:lvl3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0" name="Tijdelijke aanduiding voor tekst 3">
            <a:extLst>
              <a:ext uri="{FF2B5EF4-FFF2-40B4-BE49-F238E27FC236}">
                <a16:creationId xmlns:a16="http://schemas.microsoft.com/office/drawing/2014/main" id="{9D8C78DD-570A-4652-765D-7B59E6D6C7C0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3409234" y="1557036"/>
            <a:ext cx="2520000" cy="4320000"/>
          </a:xfrm>
          <a:prstGeom prst="roundRect">
            <a:avLst>
              <a:gd name="adj" fmla="val 6630"/>
            </a:avLst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180000" rtlCol="0" anchor="t"/>
          <a:lstStyle>
            <a:lvl1pPr marL="0" indent="0">
              <a:buFont typeface="Arial" panose="020B0604020202020204" pitchFamily="34" charset="0"/>
              <a:buNone/>
              <a:defRPr lang="nl-NL" sz="1800" dirty="0">
                <a:solidFill>
                  <a:srgbClr val="6E6E70"/>
                </a:solidFill>
                <a:latin typeface="Raleway" panose="020B0503030101060003" pitchFamily="34" charset="0"/>
              </a:defRPr>
            </a:lvl1pPr>
            <a:lvl2pPr marL="252000" indent="0">
              <a:buFont typeface="Arial" panose="020B0604020202020204" pitchFamily="34" charset="0"/>
              <a:buNone/>
              <a:defRPr sz="1600">
                <a:solidFill>
                  <a:srgbClr val="6E6E70"/>
                </a:solidFill>
              </a:defRPr>
            </a:lvl2pPr>
            <a:lvl3pPr marL="504000" indent="0">
              <a:buFont typeface="Arial" panose="020B0604020202020204" pitchFamily="34" charset="0"/>
              <a:buNone/>
              <a:defRPr sz="1400">
                <a:solidFill>
                  <a:srgbClr val="6E6E70"/>
                </a:solidFill>
              </a:defRPr>
            </a:lvl3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1" name="Tijdelijke aanduiding voor tekst 3">
            <a:extLst>
              <a:ext uri="{FF2B5EF4-FFF2-40B4-BE49-F238E27FC236}">
                <a16:creationId xmlns:a16="http://schemas.microsoft.com/office/drawing/2014/main" id="{7B86D714-AC1D-562C-7313-99B3592E9375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62765" y="1557036"/>
            <a:ext cx="2520000" cy="4320000"/>
          </a:xfrm>
          <a:prstGeom prst="roundRect">
            <a:avLst>
              <a:gd name="adj" fmla="val 6630"/>
            </a:avLst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180000" rtlCol="0" anchor="t"/>
          <a:lstStyle>
            <a:lvl1pPr marL="0" indent="0">
              <a:buFont typeface="Arial" panose="020B0604020202020204" pitchFamily="34" charset="0"/>
              <a:buNone/>
              <a:defRPr lang="nl-NL" sz="1800" dirty="0">
                <a:solidFill>
                  <a:srgbClr val="6E6E70"/>
                </a:solidFill>
                <a:latin typeface="Raleway" panose="020B0503030101060003" pitchFamily="34" charset="0"/>
              </a:defRPr>
            </a:lvl1pPr>
            <a:lvl2pPr marL="252000" indent="0">
              <a:buFont typeface="Arial" panose="020B0604020202020204" pitchFamily="34" charset="0"/>
              <a:buNone/>
              <a:defRPr sz="1600">
                <a:solidFill>
                  <a:srgbClr val="6E6E70"/>
                </a:solidFill>
              </a:defRPr>
            </a:lvl2pPr>
            <a:lvl3pPr marL="504000" indent="0">
              <a:buFont typeface="Arial" panose="020B0604020202020204" pitchFamily="34" charset="0"/>
              <a:buNone/>
              <a:defRPr sz="1400">
                <a:solidFill>
                  <a:srgbClr val="6E6E70"/>
                </a:solidFill>
              </a:defRPr>
            </a:lvl3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ijdelijke aanduiding voor tekst 3">
            <a:extLst>
              <a:ext uri="{FF2B5EF4-FFF2-40B4-BE49-F238E27FC236}">
                <a16:creationId xmlns:a16="http://schemas.microsoft.com/office/drawing/2014/main" id="{85DD9F08-FE16-1590-B2D8-C47BA4DDB469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9116297" y="1557036"/>
            <a:ext cx="2520000" cy="4320000"/>
          </a:xfrm>
          <a:prstGeom prst="roundRect">
            <a:avLst>
              <a:gd name="adj" fmla="val 6630"/>
            </a:avLst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180000" rtlCol="0" anchor="t"/>
          <a:lstStyle>
            <a:lvl1pPr marL="0" indent="0">
              <a:buFont typeface="Arial" panose="020B0604020202020204" pitchFamily="34" charset="0"/>
              <a:buNone/>
              <a:defRPr lang="nl-NL" sz="1800" dirty="0">
                <a:solidFill>
                  <a:srgbClr val="6E6E70"/>
                </a:solidFill>
                <a:latin typeface="Raleway" panose="020B0503030101060003" pitchFamily="34" charset="0"/>
              </a:defRPr>
            </a:lvl1pPr>
            <a:lvl2pPr marL="252000" indent="0">
              <a:buFont typeface="Arial" panose="020B0604020202020204" pitchFamily="34" charset="0"/>
              <a:buNone/>
              <a:defRPr sz="1600">
                <a:solidFill>
                  <a:srgbClr val="6E6E70"/>
                </a:solidFill>
              </a:defRPr>
            </a:lvl2pPr>
            <a:lvl3pPr marL="504000" indent="0">
              <a:buFont typeface="Arial" panose="020B0604020202020204" pitchFamily="34" charset="0"/>
              <a:buNone/>
              <a:defRPr sz="1400">
                <a:solidFill>
                  <a:srgbClr val="6E6E70"/>
                </a:solidFill>
              </a:defRPr>
            </a:lvl3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52B83606-2502-8205-8C05-083601FB7D7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651 w 12192000"/>
              <a:gd name="connsiteY1" fmla="*/ 0 h 900000"/>
              <a:gd name="connsiteX2" fmla="*/ 11579622 w 12192000"/>
              <a:gd name="connsiteY2" fmla="*/ 729949 h 900000"/>
              <a:gd name="connsiteX3" fmla="*/ 11587702 w 12192000"/>
              <a:gd name="connsiteY3" fmla="*/ 743970 h 900000"/>
              <a:gd name="connsiteX4" fmla="*/ 12025253 w 12192000"/>
              <a:gd name="connsiteY4" fmla="*/ 0 h 900000"/>
              <a:gd name="connsiteX5" fmla="*/ 12039705 w 12192000"/>
              <a:gd name="connsiteY5" fmla="*/ 0 h 900000"/>
              <a:gd name="connsiteX6" fmla="*/ 11640818 w 12192000"/>
              <a:gd name="connsiteY6" fmla="*/ 836138 h 900000"/>
              <a:gd name="connsiteX7" fmla="*/ 11645113 w 12192000"/>
              <a:gd name="connsiteY7" fmla="*/ 843591 h 900000"/>
              <a:gd name="connsiteX8" fmla="*/ 12133017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651" y="0"/>
                </a:lnTo>
                <a:lnTo>
                  <a:pt x="11579622" y="729949"/>
                </a:lnTo>
                <a:lnTo>
                  <a:pt x="11587702" y="743970"/>
                </a:lnTo>
                <a:lnTo>
                  <a:pt x="12025253" y="0"/>
                </a:lnTo>
                <a:lnTo>
                  <a:pt x="12039705" y="0"/>
                </a:lnTo>
                <a:lnTo>
                  <a:pt x="11640818" y="836138"/>
                </a:lnTo>
                <a:lnTo>
                  <a:pt x="11645113" y="843591"/>
                </a:lnTo>
                <a:lnTo>
                  <a:pt x="12133017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>
              <a:defRPr lang="nl-NL"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5939006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3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3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6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9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6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90638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9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6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3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9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9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1"/>
            </a:lvl1pPr>
            <a:lvl2pPr algn="l">
              <a:defRPr sz="1401"/>
            </a:lvl2pPr>
            <a:lvl3pPr algn="l">
              <a:defRPr sz="1401"/>
            </a:lvl3pPr>
            <a:lvl4pPr algn="l">
              <a:defRPr sz="1401"/>
            </a:lvl4pPr>
            <a:lvl5pPr algn="l"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2" y="1330329"/>
            <a:ext cx="10185401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67129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3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8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2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8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2243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7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1"/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3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8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2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8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defRPr sz="1401">
                <a:solidFill>
                  <a:schemeClr val="bg1"/>
                </a:solidFill>
              </a:defRPr>
            </a:lvl3pPr>
            <a:lvl4pPr>
              <a:defRPr sz="1401">
                <a:solidFill>
                  <a:schemeClr val="bg1"/>
                </a:solidFill>
              </a:defRPr>
            </a:lvl4pPr>
            <a:lvl5pPr>
              <a:defRPr sz="140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35940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8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20972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8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20972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8" y="2546022"/>
            <a:ext cx="3049649" cy="21183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91721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01754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8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8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13072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47696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7"/>
            <a:ext cx="242487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1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1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13A210-92DD-4299-9F1D-B2FE60EC31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02704" y="6295539"/>
            <a:ext cx="1931292" cy="9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1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7000"/>
            <a:ext cx="4623067" cy="184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8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20800" y="1720718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20800" y="413072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1"/>
            </a:lvl2pPr>
            <a:lvl3pPr>
              <a:defRPr sz="1401"/>
            </a:lvl3pPr>
            <a:lvl4pPr>
              <a:defRPr sz="1401"/>
            </a:lvl4pPr>
            <a:lvl5pPr>
              <a:defRPr sz="140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A75E6CC5-8B44-4F43-ACAA-428A4ADCE45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1"/>
          </a:p>
        </p:txBody>
      </p:sp>
    </p:spTree>
    <p:extLst>
      <p:ext uri="{BB962C8B-B14F-4D97-AF65-F5344CB8AC3E}">
        <p14:creationId xmlns:p14="http://schemas.microsoft.com/office/powerpoint/2010/main" val="21755582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8" y="971554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>
              <a:solidFill>
                <a:schemeClr val="bg1"/>
              </a:solidFill>
              <a:latin typeface="Raleway" panose="020B0503030101060003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3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396"/>
            <a:ext cx="5252400" cy="508088"/>
          </a:xfrm>
        </p:spPr>
        <p:txBody>
          <a:bodyPr wrap="square" anchor="b">
            <a:spAutoFit/>
          </a:bodyPr>
          <a:lstStyle>
            <a:lvl1pPr>
              <a:defRPr sz="1401">
                <a:solidFill>
                  <a:schemeClr val="bg1"/>
                </a:solidFill>
              </a:defRPr>
            </a:lvl1pPr>
            <a:lvl2pPr>
              <a:defRPr sz="1401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3" y="1140070"/>
            <a:ext cx="1082674" cy="81265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1" kern="1200" baseline="0" dirty="0" smtClean="0">
                <a:solidFill>
                  <a:schemeClr val="bg1"/>
                </a:solidFill>
                <a:latin typeface="Raleway" panose="020B05030301010600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9019372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8" y="971554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>
              <a:solidFill>
                <a:schemeClr val="bg1"/>
              </a:solidFill>
              <a:latin typeface="Raleway" panose="020B0503030101060003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396"/>
            <a:ext cx="5252400" cy="508088"/>
          </a:xfrm>
        </p:spPr>
        <p:txBody>
          <a:bodyPr wrap="square" anchor="b">
            <a:spAutoFit/>
          </a:bodyPr>
          <a:lstStyle>
            <a:lvl1pPr>
              <a:defRPr sz="1401">
                <a:solidFill>
                  <a:schemeClr val="accent2"/>
                </a:solidFill>
              </a:defRPr>
            </a:lvl1pPr>
            <a:lvl2pPr>
              <a:defRPr sz="1401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3" y="1140070"/>
            <a:ext cx="1082674" cy="81265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1" kern="1200" baseline="0" dirty="0" smtClean="0">
                <a:solidFill>
                  <a:schemeClr val="accent2"/>
                </a:solidFill>
                <a:latin typeface="Raleway" panose="020B05030301010600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3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3202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F32D226-08EC-0551-D362-70A6D462A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3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" name="Tijdelijke aanduiding voor tekst 3">
            <a:extLst>
              <a:ext uri="{FF2B5EF4-FFF2-40B4-BE49-F238E27FC236}">
                <a16:creationId xmlns:a16="http://schemas.microsoft.com/office/drawing/2014/main" id="{EFF41342-27DA-D2E8-7460-F756AF80CF88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3409234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C1BBB59F-C846-5729-D773-BAAB500F0728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62765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FF69BF78-24B2-F449-2480-CE6EE13CF60E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9116297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tel">
            <a:extLst>
              <a:ext uri="{FF2B5EF4-FFF2-40B4-BE49-F238E27FC236}">
                <a16:creationId xmlns:a16="http://schemas.microsoft.com/office/drawing/2014/main" id="{F1400127-49B5-AC46-EEF3-AB51BCA276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651 w 12192000"/>
              <a:gd name="connsiteY1" fmla="*/ 0 h 900000"/>
              <a:gd name="connsiteX2" fmla="*/ 11579622 w 12192000"/>
              <a:gd name="connsiteY2" fmla="*/ 729949 h 900000"/>
              <a:gd name="connsiteX3" fmla="*/ 11587702 w 12192000"/>
              <a:gd name="connsiteY3" fmla="*/ 743970 h 900000"/>
              <a:gd name="connsiteX4" fmla="*/ 12025253 w 12192000"/>
              <a:gd name="connsiteY4" fmla="*/ 0 h 900000"/>
              <a:gd name="connsiteX5" fmla="*/ 12039705 w 12192000"/>
              <a:gd name="connsiteY5" fmla="*/ 0 h 900000"/>
              <a:gd name="connsiteX6" fmla="*/ 11640818 w 12192000"/>
              <a:gd name="connsiteY6" fmla="*/ 836138 h 900000"/>
              <a:gd name="connsiteX7" fmla="*/ 11645113 w 12192000"/>
              <a:gd name="connsiteY7" fmla="*/ 843591 h 900000"/>
              <a:gd name="connsiteX8" fmla="*/ 12133017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651" y="0"/>
                </a:lnTo>
                <a:lnTo>
                  <a:pt x="11579622" y="729949"/>
                </a:lnTo>
                <a:lnTo>
                  <a:pt x="11587702" y="743970"/>
                </a:lnTo>
                <a:lnTo>
                  <a:pt x="12025253" y="0"/>
                </a:lnTo>
                <a:lnTo>
                  <a:pt x="12039705" y="0"/>
                </a:lnTo>
                <a:lnTo>
                  <a:pt x="11640818" y="836138"/>
                </a:lnTo>
                <a:lnTo>
                  <a:pt x="11645113" y="843591"/>
                </a:lnTo>
                <a:lnTo>
                  <a:pt x="12133017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>
              <a:defRPr lang="nl-NL"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601062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8" y="971554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>
              <a:solidFill>
                <a:schemeClr val="bg1"/>
              </a:solidFill>
              <a:latin typeface="Raleway" panose="020B0503030101060003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3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396"/>
            <a:ext cx="5252400" cy="508088"/>
          </a:xfrm>
        </p:spPr>
        <p:txBody>
          <a:bodyPr wrap="square" anchor="b">
            <a:spAutoFit/>
          </a:bodyPr>
          <a:lstStyle>
            <a:lvl1pPr>
              <a:defRPr sz="1401">
                <a:solidFill>
                  <a:schemeClr val="accent2"/>
                </a:solidFill>
              </a:defRPr>
            </a:lvl1pPr>
            <a:lvl2pPr>
              <a:defRPr sz="1401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3" y="1140070"/>
            <a:ext cx="1082674" cy="81265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1" kern="1200" baseline="0" dirty="0" smtClean="0">
                <a:solidFill>
                  <a:schemeClr val="accent2"/>
                </a:solidFill>
                <a:latin typeface="Raleway" panose="020B05030301010600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5866157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4" y="5750099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1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1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3" y="3351965"/>
            <a:ext cx="2411739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998476" y="2881533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D7CE8814-2E6C-49B9-A2A8-80AB288D9A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490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4" y="5750099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1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1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3" y="3351965"/>
            <a:ext cx="2411739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998476" y="2881533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316E0CBF-F67B-4988-A694-3CA5B79E65D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91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3" y="2246537"/>
            <a:ext cx="839615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3" y="1731973"/>
            <a:ext cx="839615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3" y="2761098"/>
            <a:ext cx="839615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3" y="3275658"/>
            <a:ext cx="839615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3" y="1330327"/>
            <a:ext cx="1364047" cy="1540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1"/>
              </a:spcAft>
            </a:pPr>
            <a:r>
              <a:rPr lang="en-US" sz="1001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4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Spectrum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4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4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Light Blu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9643" y="1731973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22974" y="1816774"/>
            <a:ext cx="125399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4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Cobalt Blu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56161F-C4E7-4F32-B00D-D64EBA9D34CA}"/>
              </a:ext>
            </a:extLst>
          </p:cNvPr>
          <p:cNvGrpSpPr/>
          <p:nvPr userDrawn="1"/>
        </p:nvGrpSpPr>
        <p:grpSpPr>
          <a:xfrm>
            <a:off x="998352" y="3783828"/>
            <a:ext cx="2177327" cy="1433953"/>
            <a:chOff x="998351" y="4298384"/>
            <a:chExt cx="2177326" cy="143395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53D312-00EF-44B5-9D91-290BE0E19654}"/>
                </a:ext>
              </a:extLst>
            </p:cNvPr>
            <p:cNvSpPr/>
            <p:nvPr userDrawn="1"/>
          </p:nvSpPr>
          <p:spPr>
            <a:xfrm>
              <a:off x="998351" y="4298384"/>
              <a:ext cx="839614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8D98991-520C-4FD6-8B23-8732995E56B1}"/>
                </a:ext>
              </a:extLst>
            </p:cNvPr>
            <p:cNvSpPr/>
            <p:nvPr userDrawn="1"/>
          </p:nvSpPr>
          <p:spPr>
            <a:xfrm>
              <a:off x="998351" y="4812944"/>
              <a:ext cx="839614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A38B4C-5B80-413E-B283-1F1ADBFD09CD}"/>
                </a:ext>
              </a:extLst>
            </p:cNvPr>
            <p:cNvSpPr/>
            <p:nvPr userDrawn="1"/>
          </p:nvSpPr>
          <p:spPr>
            <a:xfrm>
              <a:off x="998351" y="5321112"/>
              <a:ext cx="839614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B01B4DF-404A-4544-B313-2720FCBDD0B4}"/>
                </a:ext>
              </a:extLst>
            </p:cNvPr>
            <p:cNvSpPr txBox="1"/>
            <p:nvPr userDrawn="1"/>
          </p:nvSpPr>
          <p:spPr>
            <a:xfrm>
              <a:off x="1921682" y="4386074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Pacific Blu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6DFA940-4699-43CF-A21A-AE4227704697}"/>
                </a:ext>
              </a:extLst>
            </p:cNvPr>
            <p:cNvSpPr txBox="1"/>
            <p:nvPr userDrawn="1"/>
          </p:nvSpPr>
          <p:spPr>
            <a:xfrm>
              <a:off x="1921682" y="489713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Purpl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A40265-6498-4E16-877D-6BC9A8CE7DCA}"/>
                </a:ext>
              </a:extLst>
            </p:cNvPr>
            <p:cNvSpPr txBox="1"/>
            <p:nvPr userDrawn="1"/>
          </p:nvSpPr>
          <p:spPr>
            <a:xfrm>
              <a:off x="1921682" y="540819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Pink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9" y="1330327"/>
            <a:ext cx="1946348" cy="3080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1"/>
              </a:spcAft>
            </a:pPr>
            <a:r>
              <a:rPr lang="en-US" sz="1001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4" y="2246536"/>
            <a:ext cx="839615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4" y="2761098"/>
            <a:ext cx="839615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4" y="3269262"/>
            <a:ext cx="839615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4" y="3783824"/>
            <a:ext cx="839615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4" y="4298388"/>
            <a:ext cx="839615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4" y="4806556"/>
            <a:ext cx="839615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4" y="5321116"/>
            <a:ext cx="839615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9" y="2338957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1"/>
                </a:spcAft>
              </a:pPr>
              <a:r>
                <a:rPr lang="en-GB" sz="1001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7" y="1731973"/>
            <a:ext cx="839615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7" y="2246537"/>
            <a:ext cx="839615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2" y="1330327"/>
            <a:ext cx="1545230" cy="3080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1"/>
              </a:spcAft>
            </a:pPr>
            <a:r>
              <a:rPr lang="en-US" sz="1001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7" y="2761098"/>
            <a:ext cx="839615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7" y="3275658"/>
            <a:ext cx="839615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7" y="3790220"/>
            <a:ext cx="839615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80" y="2852903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80" y="1830789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80" y="3363960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80" y="3875017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80" y="2341846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7" y="2670087"/>
            <a:ext cx="839615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9" y="2670087"/>
            <a:ext cx="839615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2" y="2757773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Purple/</a:t>
            </a:r>
            <a:br>
              <a:rPr lang="en-GB" sz="1001"/>
            </a:br>
            <a:r>
              <a:rPr lang="en-GB" sz="1001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100206" y="2869887"/>
            <a:ext cx="1709099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Pacific/</a:t>
            </a:r>
            <a:br>
              <a:rPr lang="en-GB" sz="1001"/>
            </a:br>
            <a:r>
              <a:rPr lang="en-GB" sz="1001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3"/>
            <a:ext cx="4047047" cy="12704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1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1" b="0">
                <a:solidFill>
                  <a:sysClr val="windowText" lastClr="000000"/>
                </a:solidFill>
              </a:rPr>
              <a:t>The colors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1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1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1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1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1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>
            <a:spLocks/>
          </p:cNvSpPr>
          <p:nvPr userDrawn="1"/>
        </p:nvSpPr>
        <p:spPr>
          <a:xfrm>
            <a:off x="5225412" y="4304598"/>
            <a:ext cx="839615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7" y="4389395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1"/>
              </a:spcAft>
            </a:pPr>
            <a:r>
              <a:rPr lang="en-GB" sz="1001"/>
              <a:t>Whi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47E9F40-D028-425F-96B1-C73C59C9C8EF}"/>
              </a:ext>
            </a:extLst>
          </p:cNvPr>
          <p:cNvSpPr txBox="1"/>
          <p:nvPr userDrawn="1"/>
        </p:nvSpPr>
        <p:spPr>
          <a:xfrm>
            <a:off x="7146556" y="3336981"/>
            <a:ext cx="1194239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1"/>
              </a:spcAft>
            </a:pPr>
            <a:r>
              <a:rPr lang="en-US" sz="1001" b="1">
                <a:solidFill>
                  <a:sysClr val="windowText" lastClr="000000"/>
                </a:solidFill>
              </a:rPr>
              <a:t>Traffic Light Palette</a:t>
            </a:r>
            <a:endParaRPr lang="en-US" sz="1001" b="0">
              <a:solidFill>
                <a:sysClr val="windowText" lastClr="000000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E77BBC-829E-4B5B-9C1B-B9C1344A811F}"/>
              </a:ext>
            </a:extLst>
          </p:cNvPr>
          <p:cNvSpPr>
            <a:spLocks/>
          </p:cNvSpPr>
          <p:nvPr userDrawn="1"/>
        </p:nvSpPr>
        <p:spPr>
          <a:xfrm>
            <a:off x="9353778" y="3589584"/>
            <a:ext cx="839615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6053ADE-6CEF-4806-8C0F-B8BEED546A81}"/>
              </a:ext>
            </a:extLst>
          </p:cNvPr>
          <p:cNvSpPr>
            <a:spLocks/>
          </p:cNvSpPr>
          <p:nvPr userDrawn="1"/>
        </p:nvSpPr>
        <p:spPr>
          <a:xfrm>
            <a:off x="8262132" y="3589584"/>
            <a:ext cx="839615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FEC18AD-6921-4293-966A-F31741528B23}"/>
              </a:ext>
            </a:extLst>
          </p:cNvPr>
          <p:cNvSpPr>
            <a:spLocks/>
          </p:cNvSpPr>
          <p:nvPr userDrawn="1"/>
        </p:nvSpPr>
        <p:spPr>
          <a:xfrm>
            <a:off x="7170487" y="3589584"/>
            <a:ext cx="839615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D3C657F-FD1E-40E0-B00F-F92EC3693861}"/>
              </a:ext>
            </a:extLst>
          </p:cNvPr>
          <p:cNvSpPr txBox="1"/>
          <p:nvPr userDrawn="1"/>
        </p:nvSpPr>
        <p:spPr>
          <a:xfrm>
            <a:off x="7146554" y="4285688"/>
            <a:ext cx="4159623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1"/>
              </a:spcAft>
            </a:pPr>
            <a:r>
              <a:rPr lang="en-US" sz="1001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1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1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87E5F4-3A2B-41F8-A4AA-BA7FFC573394}"/>
              </a:ext>
            </a:extLst>
          </p:cNvPr>
          <p:cNvCxnSpPr/>
          <p:nvPr userDrawn="1"/>
        </p:nvCxnSpPr>
        <p:spPr>
          <a:xfrm>
            <a:off x="7170486" y="3242602"/>
            <a:ext cx="402311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639F51-9F8C-4D36-8737-7A3DAC84F1DA}"/>
              </a:ext>
            </a:extLst>
          </p:cNvPr>
          <p:cNvCxnSpPr/>
          <p:nvPr userDrawn="1"/>
        </p:nvCxnSpPr>
        <p:spPr>
          <a:xfrm>
            <a:off x="7170486" y="4176642"/>
            <a:ext cx="402311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8890E6-18C7-479B-B73B-0C731D264307}"/>
              </a:ext>
            </a:extLst>
          </p:cNvPr>
          <p:cNvGrpSpPr/>
          <p:nvPr userDrawn="1"/>
        </p:nvGrpSpPr>
        <p:grpSpPr>
          <a:xfrm>
            <a:off x="7170486" y="5015319"/>
            <a:ext cx="4023115" cy="868052"/>
            <a:chOff x="6942744" y="5227726"/>
            <a:chExt cx="6397168" cy="1380293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642345-2D6B-4C6E-A9F2-A02D26D51DDD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4B75BE9-8F9E-40F1-AE85-B929BD14E4F6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03512C6-1015-4893-B421-D2CA83BB28B7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DF8AA28-67A9-4A84-A80F-52EFDEF62EC4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ECD3EF-C613-49EC-B955-C33743E8DAF2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FF0E69-1303-4A97-A554-2617DBE38F85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2E2F76-F5F9-4152-8B76-200BB23CF93D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F294A2C6-DAFC-45CD-86AD-3902D99F3B8E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318800B-9E93-4883-840B-696F82170F32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14443132-A6B3-4990-BA37-9E2D3DE1B105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C79AFB4-7A51-4309-99F1-4015E9137C5F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E4F02C0-8A76-4F89-8E59-9E7549909C2A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9198175-1C72-4E67-BB92-6595EEDA420A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B592D94-A7C3-4005-BCCE-3C53AAD9574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8490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 1 (foto invoeg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ekst 5">
            <a:extLst>
              <a:ext uri="{FF2B5EF4-FFF2-40B4-BE49-F238E27FC236}">
                <a16:creationId xmlns:a16="http://schemas.microsoft.com/office/drawing/2014/main" id="{44FDF36A-B7AC-C770-F194-3D606BC67874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555701" y="5320420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kst 4">
            <a:extLst>
              <a:ext uri="{FF2B5EF4-FFF2-40B4-BE49-F238E27FC236}">
                <a16:creationId xmlns:a16="http://schemas.microsoft.com/office/drawing/2014/main" id="{98B5FDEA-21D6-DD3D-C8F4-01DA053B0EE7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555701" y="4379575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kst 3">
            <a:extLst>
              <a:ext uri="{FF2B5EF4-FFF2-40B4-BE49-F238E27FC236}">
                <a16:creationId xmlns:a16="http://schemas.microsoft.com/office/drawing/2014/main" id="{48394CB7-457A-F302-4AF0-F95B343F898C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555701" y="3438729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2" name="Tekst 2">
            <a:extLst>
              <a:ext uri="{FF2B5EF4-FFF2-40B4-BE49-F238E27FC236}">
                <a16:creationId xmlns:a16="http://schemas.microsoft.com/office/drawing/2014/main" id="{BB6F5175-485E-C5CA-2917-771ED8A64A7B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555701" y="2497883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kst 1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7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itel">
            <a:extLst>
              <a:ext uri="{FF2B5EF4-FFF2-40B4-BE49-F238E27FC236}">
                <a16:creationId xmlns:a16="http://schemas.microsoft.com/office/drawing/2014/main" id="{6233818E-0334-D9C8-0D0C-40E8EA440D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910 w 12192000"/>
              <a:gd name="connsiteY1" fmla="*/ 0 h 900000"/>
              <a:gd name="connsiteX2" fmla="*/ 11579881 w 12192000"/>
              <a:gd name="connsiteY2" fmla="*/ 729949 h 900000"/>
              <a:gd name="connsiteX3" fmla="*/ 11587961 w 12192000"/>
              <a:gd name="connsiteY3" fmla="*/ 743970 h 900000"/>
              <a:gd name="connsiteX4" fmla="*/ 12025512 w 12192000"/>
              <a:gd name="connsiteY4" fmla="*/ 0 h 900000"/>
              <a:gd name="connsiteX5" fmla="*/ 12038828 w 12192000"/>
              <a:gd name="connsiteY5" fmla="*/ 0 h 900000"/>
              <a:gd name="connsiteX6" fmla="*/ 11641077 w 12192000"/>
              <a:gd name="connsiteY6" fmla="*/ 833757 h 900000"/>
              <a:gd name="connsiteX7" fmla="*/ 11645372 w 12192000"/>
              <a:gd name="connsiteY7" fmla="*/ 841210 h 900000"/>
              <a:gd name="connsiteX8" fmla="*/ 12131899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910" y="0"/>
                </a:lnTo>
                <a:lnTo>
                  <a:pt x="11579881" y="729949"/>
                </a:lnTo>
                <a:lnTo>
                  <a:pt x="11587961" y="743970"/>
                </a:lnTo>
                <a:lnTo>
                  <a:pt x="12025512" y="0"/>
                </a:lnTo>
                <a:lnTo>
                  <a:pt x="12038828" y="0"/>
                </a:lnTo>
                <a:lnTo>
                  <a:pt x="11641077" y="833757"/>
                </a:lnTo>
                <a:lnTo>
                  <a:pt x="11645372" y="841210"/>
                </a:lnTo>
                <a:lnTo>
                  <a:pt x="12131899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>
              <a:defRPr lang="nl-NL"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471119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 1 (foto niet invoeg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ekst 5">
            <a:extLst>
              <a:ext uri="{FF2B5EF4-FFF2-40B4-BE49-F238E27FC236}">
                <a16:creationId xmlns:a16="http://schemas.microsoft.com/office/drawing/2014/main" id="{44FDF36A-B7AC-C770-F194-3D606BC67874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555701" y="5320420"/>
            <a:ext cx="756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kst 4">
            <a:extLst>
              <a:ext uri="{FF2B5EF4-FFF2-40B4-BE49-F238E27FC236}">
                <a16:creationId xmlns:a16="http://schemas.microsoft.com/office/drawing/2014/main" id="{98B5FDEA-21D6-DD3D-C8F4-01DA053B0EE7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555701" y="4379575"/>
            <a:ext cx="756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kst 3">
            <a:extLst>
              <a:ext uri="{FF2B5EF4-FFF2-40B4-BE49-F238E27FC236}">
                <a16:creationId xmlns:a16="http://schemas.microsoft.com/office/drawing/2014/main" id="{48394CB7-457A-F302-4AF0-F95B343F898C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555701" y="3438729"/>
            <a:ext cx="756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2" name="Tekst 2">
            <a:extLst>
              <a:ext uri="{FF2B5EF4-FFF2-40B4-BE49-F238E27FC236}">
                <a16:creationId xmlns:a16="http://schemas.microsoft.com/office/drawing/2014/main" id="{BB6F5175-485E-C5CA-2917-771ED8A64A7B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555701" y="2497883"/>
            <a:ext cx="756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kst 1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7"/>
            <a:ext cx="7560000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58A61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0" name="Titel">
            <a:extLst>
              <a:ext uri="{FF2B5EF4-FFF2-40B4-BE49-F238E27FC236}">
                <a16:creationId xmlns:a16="http://schemas.microsoft.com/office/drawing/2014/main" id="{0062BB19-EDA6-47AD-5B08-A08F1BC3FE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910 w 12192000"/>
              <a:gd name="connsiteY1" fmla="*/ 0 h 900000"/>
              <a:gd name="connsiteX2" fmla="*/ 11579881 w 12192000"/>
              <a:gd name="connsiteY2" fmla="*/ 729949 h 900000"/>
              <a:gd name="connsiteX3" fmla="*/ 11587961 w 12192000"/>
              <a:gd name="connsiteY3" fmla="*/ 743970 h 900000"/>
              <a:gd name="connsiteX4" fmla="*/ 12025512 w 12192000"/>
              <a:gd name="connsiteY4" fmla="*/ 0 h 900000"/>
              <a:gd name="connsiteX5" fmla="*/ 12038828 w 12192000"/>
              <a:gd name="connsiteY5" fmla="*/ 0 h 900000"/>
              <a:gd name="connsiteX6" fmla="*/ 11641077 w 12192000"/>
              <a:gd name="connsiteY6" fmla="*/ 833757 h 900000"/>
              <a:gd name="connsiteX7" fmla="*/ 11645372 w 12192000"/>
              <a:gd name="connsiteY7" fmla="*/ 841210 h 900000"/>
              <a:gd name="connsiteX8" fmla="*/ 12131899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910" y="0"/>
                </a:lnTo>
                <a:lnTo>
                  <a:pt x="11579881" y="729949"/>
                </a:lnTo>
                <a:lnTo>
                  <a:pt x="11587961" y="743970"/>
                </a:lnTo>
                <a:lnTo>
                  <a:pt x="12025512" y="0"/>
                </a:lnTo>
                <a:lnTo>
                  <a:pt x="12038828" y="0"/>
                </a:lnTo>
                <a:lnTo>
                  <a:pt x="11641077" y="833757"/>
                </a:lnTo>
                <a:lnTo>
                  <a:pt x="11645372" y="841210"/>
                </a:lnTo>
                <a:lnTo>
                  <a:pt x="12131899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>
              <a:defRPr lang="nl-NL"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368713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(start hoofdstu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753A26B5-7819-A0B3-8A7D-E1F382197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AC83394-2B2E-D16C-369F-3D9977EEB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2" name="Gradient filter">
            <a:extLst>
              <a:ext uri="{FF2B5EF4-FFF2-40B4-BE49-F238E27FC236}">
                <a16:creationId xmlns:a16="http://schemas.microsoft.com/office/drawing/2014/main" id="{B9FB04CD-62AA-C9D7-6695-5B9BC2F521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7"/>
            <a:ext cx="6451600" cy="6863927"/>
          </a:xfrm>
          <a:prstGeom prst="rect">
            <a:avLst/>
          </a:prstGeom>
          <a:gradFill>
            <a:gsLst>
              <a:gs pos="50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77E184DF-BF0B-7533-A9E5-783975C8EF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720000"/>
            <a:ext cx="12192000" cy="1440000"/>
          </a:xfrm>
          <a:custGeom>
            <a:avLst/>
            <a:gdLst>
              <a:gd name="connsiteX0" fmla="*/ 0 w 12192000"/>
              <a:gd name="connsiteY0" fmla="*/ 0 h 1440000"/>
              <a:gd name="connsiteX1" fmla="*/ 11922445 w 12192000"/>
              <a:gd name="connsiteY1" fmla="*/ 0 h 1440000"/>
              <a:gd name="connsiteX2" fmla="*/ 11579881 w 12192000"/>
              <a:gd name="connsiteY2" fmla="*/ 733234 h 1440000"/>
              <a:gd name="connsiteX3" fmla="*/ 11587961 w 12192000"/>
              <a:gd name="connsiteY3" fmla="*/ 747255 h 1440000"/>
              <a:gd name="connsiteX4" fmla="*/ 12027444 w 12192000"/>
              <a:gd name="connsiteY4" fmla="*/ 0 h 1440000"/>
              <a:gd name="connsiteX5" fmla="*/ 12041531 w 12192000"/>
              <a:gd name="connsiteY5" fmla="*/ 0 h 1440000"/>
              <a:gd name="connsiteX6" fmla="*/ 11641077 w 12192000"/>
              <a:gd name="connsiteY6" fmla="*/ 839423 h 1440000"/>
              <a:gd name="connsiteX7" fmla="*/ 11645372 w 12192000"/>
              <a:gd name="connsiteY7" fmla="*/ 846876 h 1440000"/>
              <a:gd name="connsiteX8" fmla="*/ 12135176 w 12192000"/>
              <a:gd name="connsiteY8" fmla="*/ 0 h 1440000"/>
              <a:gd name="connsiteX9" fmla="*/ 12192000 w 12192000"/>
              <a:gd name="connsiteY9" fmla="*/ 0 h 1440000"/>
              <a:gd name="connsiteX10" fmla="*/ 12192000 w 12192000"/>
              <a:gd name="connsiteY10" fmla="*/ 1440000 h 1440000"/>
              <a:gd name="connsiteX11" fmla="*/ 0 w 12192000"/>
              <a:gd name="connsiteY11" fmla="*/ 1440000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1440000">
                <a:moveTo>
                  <a:pt x="0" y="0"/>
                </a:moveTo>
                <a:lnTo>
                  <a:pt x="11922445" y="0"/>
                </a:lnTo>
                <a:lnTo>
                  <a:pt x="11579881" y="733234"/>
                </a:lnTo>
                <a:lnTo>
                  <a:pt x="11587961" y="747255"/>
                </a:lnTo>
                <a:lnTo>
                  <a:pt x="12027444" y="0"/>
                </a:lnTo>
                <a:lnTo>
                  <a:pt x="12041531" y="0"/>
                </a:lnTo>
                <a:lnTo>
                  <a:pt x="11641077" y="839423"/>
                </a:lnTo>
                <a:lnTo>
                  <a:pt x="11645372" y="846876"/>
                </a:lnTo>
                <a:lnTo>
                  <a:pt x="12135176" y="0"/>
                </a:lnTo>
                <a:lnTo>
                  <a:pt x="12192000" y="0"/>
                </a:lnTo>
                <a:lnTo>
                  <a:pt x="12192000" y="1440000"/>
                </a:lnTo>
                <a:lnTo>
                  <a:pt x="0" y="1440000"/>
                </a:lnTo>
                <a:close/>
              </a:path>
            </a:pathLst>
          </a:custGeom>
          <a:solidFill>
            <a:srgbClr val="58A618"/>
          </a:solidFill>
        </p:spPr>
        <p:txBody>
          <a:bodyPr wrap="square" lIns="540000" tIns="36000" rIns="36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486138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049ED3-4BE8-92E4-4366-8FF569B06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B56E29C-3A9D-0A18-C6A1-7CA1A9D7AC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753A26B5-7819-A0B3-8A7D-E1F382197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AC83394-2B2E-D16C-369F-3D9977EEB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73288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theme" Target="../theme/theme2.xml"/><Relationship Id="rId47" Type="http://schemas.openxmlformats.org/officeDocument/2006/relationships/image" Target="../media/image3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tags" Target="../tags/tag1.xml"/><Relationship Id="rId48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A57E518-232E-B3C8-5835-F921A05F7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28FC4E0-1B74-2A10-3A61-756072D28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60BD94B-ED47-F63B-473F-2E00708C1D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4A9AF8-64B0-4406-904A-DC33EBFA7633}" type="datetimeFigureOut">
              <a:rPr lang="nl-NL" smtClean="0"/>
              <a:t>24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4FA524B-9989-A093-3F49-358E552EBC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528B5BD-64AF-C1B9-7CA0-B85BF8BEB3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Ovaal 6">
            <a:extLst>
              <a:ext uri="{FF2B5EF4-FFF2-40B4-BE49-F238E27FC236}">
                <a16:creationId xmlns:a16="http://schemas.microsoft.com/office/drawing/2014/main" id="{4E9BB808-3CF1-34C0-47B9-26E22D71BD5F}"/>
              </a:ext>
            </a:extLst>
          </p:cNvPr>
          <p:cNvSpPr/>
          <p:nvPr userDrawn="1"/>
        </p:nvSpPr>
        <p:spPr>
          <a:xfrm>
            <a:off x="335426" y="-338142"/>
            <a:ext cx="180000" cy="180000"/>
          </a:xfrm>
          <a:prstGeom prst="ellipse">
            <a:avLst/>
          </a:prstGeom>
          <a:solidFill>
            <a:srgbClr val="58A618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1EDCD3F6-DBAE-1825-2C0E-32F2751CC389}"/>
              </a:ext>
            </a:extLst>
          </p:cNvPr>
          <p:cNvSpPr/>
          <p:nvPr userDrawn="1"/>
        </p:nvSpPr>
        <p:spPr>
          <a:xfrm>
            <a:off x="1299176" y="-338142"/>
            <a:ext cx="180000" cy="180000"/>
          </a:xfrm>
          <a:prstGeom prst="ellipse">
            <a:avLst/>
          </a:prstGeom>
          <a:solidFill>
            <a:srgbClr val="7D006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Ovaal 8">
            <a:extLst>
              <a:ext uri="{FF2B5EF4-FFF2-40B4-BE49-F238E27FC236}">
                <a16:creationId xmlns:a16="http://schemas.microsoft.com/office/drawing/2014/main" id="{88730ED2-89D0-8DB9-4DE8-9C8CACB14906}"/>
              </a:ext>
            </a:extLst>
          </p:cNvPr>
          <p:cNvSpPr/>
          <p:nvPr userDrawn="1"/>
        </p:nvSpPr>
        <p:spPr>
          <a:xfrm>
            <a:off x="1620426" y="-338142"/>
            <a:ext cx="180000" cy="180000"/>
          </a:xfrm>
          <a:prstGeom prst="ellipse">
            <a:avLst/>
          </a:prstGeom>
          <a:solidFill>
            <a:srgbClr val="00ADEE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Ovaal 9">
            <a:extLst>
              <a:ext uri="{FF2B5EF4-FFF2-40B4-BE49-F238E27FC236}">
                <a16:creationId xmlns:a16="http://schemas.microsoft.com/office/drawing/2014/main" id="{D4B29D0E-F797-E20E-52FC-FC043C35FAD9}"/>
              </a:ext>
            </a:extLst>
          </p:cNvPr>
          <p:cNvSpPr/>
          <p:nvPr userDrawn="1"/>
        </p:nvSpPr>
        <p:spPr>
          <a:xfrm>
            <a:off x="14176" y="-338142"/>
            <a:ext cx="180000" cy="180000"/>
          </a:xfrm>
          <a:prstGeom prst="ellipse">
            <a:avLst/>
          </a:prstGeom>
          <a:solidFill>
            <a:srgbClr val="6E6E7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58658EDB-BCF7-B170-A7DF-7C7A2AB7E4F1}"/>
              </a:ext>
            </a:extLst>
          </p:cNvPr>
          <p:cNvSpPr/>
          <p:nvPr userDrawn="1"/>
        </p:nvSpPr>
        <p:spPr>
          <a:xfrm>
            <a:off x="977926" y="-338142"/>
            <a:ext cx="180000" cy="180000"/>
          </a:xfrm>
          <a:prstGeom prst="ellipse">
            <a:avLst/>
          </a:prstGeom>
          <a:solidFill>
            <a:srgbClr val="C5008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Ovaal 11">
            <a:extLst>
              <a:ext uri="{FF2B5EF4-FFF2-40B4-BE49-F238E27FC236}">
                <a16:creationId xmlns:a16="http://schemas.microsoft.com/office/drawing/2014/main" id="{64858311-E44F-3145-5775-13172A141F41}"/>
              </a:ext>
            </a:extLst>
          </p:cNvPr>
          <p:cNvSpPr/>
          <p:nvPr userDrawn="1"/>
        </p:nvSpPr>
        <p:spPr>
          <a:xfrm>
            <a:off x="1941676" y="-338142"/>
            <a:ext cx="180000" cy="180000"/>
          </a:xfrm>
          <a:prstGeom prst="ellipse">
            <a:avLst/>
          </a:prstGeom>
          <a:solidFill>
            <a:srgbClr val="173D8C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Ovaal 12">
            <a:extLst>
              <a:ext uri="{FF2B5EF4-FFF2-40B4-BE49-F238E27FC236}">
                <a16:creationId xmlns:a16="http://schemas.microsoft.com/office/drawing/2014/main" id="{E21750E3-4A5B-960B-1057-F7486C71C7BB}"/>
              </a:ext>
            </a:extLst>
          </p:cNvPr>
          <p:cNvSpPr/>
          <p:nvPr userDrawn="1"/>
        </p:nvSpPr>
        <p:spPr>
          <a:xfrm>
            <a:off x="2262928" y="-338142"/>
            <a:ext cx="180000" cy="180000"/>
          </a:xfrm>
          <a:prstGeom prst="ellipse">
            <a:avLst/>
          </a:prstGeom>
          <a:solidFill>
            <a:srgbClr val="F4911D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Ovaal 13">
            <a:extLst>
              <a:ext uri="{FF2B5EF4-FFF2-40B4-BE49-F238E27FC236}">
                <a16:creationId xmlns:a16="http://schemas.microsoft.com/office/drawing/2014/main" id="{4BD8C981-9C92-A485-8256-4BE4B2051701}"/>
              </a:ext>
            </a:extLst>
          </p:cNvPr>
          <p:cNvSpPr/>
          <p:nvPr userDrawn="1"/>
        </p:nvSpPr>
        <p:spPr>
          <a:xfrm>
            <a:off x="656676" y="-338142"/>
            <a:ext cx="180000" cy="180000"/>
          </a:xfrm>
          <a:prstGeom prst="ellipse">
            <a:avLst/>
          </a:prstGeom>
          <a:solidFill>
            <a:srgbClr val="00854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Ovaal 14">
            <a:extLst>
              <a:ext uri="{FF2B5EF4-FFF2-40B4-BE49-F238E27FC236}">
                <a16:creationId xmlns:a16="http://schemas.microsoft.com/office/drawing/2014/main" id="{F49D5D9F-3CEE-1F23-9A23-0F588DC74C9D}"/>
              </a:ext>
            </a:extLst>
          </p:cNvPr>
          <p:cNvSpPr/>
          <p:nvPr userDrawn="1"/>
        </p:nvSpPr>
        <p:spPr>
          <a:xfrm>
            <a:off x="2584180" y="-338142"/>
            <a:ext cx="180000" cy="180000"/>
          </a:xfrm>
          <a:prstGeom prst="ellipse">
            <a:avLst/>
          </a:prstGeom>
          <a:solidFill>
            <a:srgbClr val="E5EBE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76445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8" r:id="rId4"/>
    <p:sldLayoutId id="2147483660" r:id="rId5"/>
    <p:sldLayoutId id="2147483663" r:id="rId6"/>
    <p:sldLayoutId id="2147483664" r:id="rId7"/>
    <p:sldLayoutId id="2147483661" r:id="rId8"/>
    <p:sldLayoutId id="2147483654" r:id="rId9"/>
    <p:sldLayoutId id="2147483655" r:id="rId10"/>
    <p:sldLayoutId id="2147483657" r:id="rId11"/>
    <p:sldLayoutId id="214748370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6E6E7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rgbClr val="6E6E70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rgbClr val="6E6E70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rgbClr val="6E6E70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rgbClr val="6E6E70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rgbClr val="6E6E7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B3E43E-9788-4663-A707-96BCC79E82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7045241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B3E43E-9788-4663-A707-96BCC79E8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1" y="739774"/>
            <a:ext cx="10657147" cy="5556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1" y="1498600"/>
            <a:ext cx="10667998" cy="452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176661" y="6266997"/>
            <a:ext cx="242487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1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1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1158601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9CAB9EC7-F5E0-4684-A576-ECACF26F9022}"/>
              </a:ext>
            </a:extLst>
          </p:cNvPr>
          <p:cNvSpPr/>
          <p:nvPr userDrawn="1"/>
        </p:nvSpPr>
        <p:spPr>
          <a:xfrm>
            <a:off x="772852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1"/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44"/>
            </p:custDataLst>
          </p:nvPr>
        </p:nvSpPr>
        <p:spPr>
          <a:xfrm>
            <a:off x="1467507" y="6322199"/>
            <a:ext cx="4623067" cy="184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601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Accountant N.V. Alle rechten voorbehouden.</a:t>
            </a:r>
          </a:p>
          <a:p>
            <a:pPr marL="0" marR="0" lvl="0" indent="0" algn="l" defTabSz="914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01" kern="1200" noProof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AABEEE3-5AB2-4A6B-B502-FCE418089B18}"/>
              </a:ext>
            </a:extLst>
          </p:cNvPr>
          <p:cNvGrpSpPr/>
          <p:nvPr userDrawn="1"/>
        </p:nvGrpSpPr>
        <p:grpSpPr>
          <a:xfrm>
            <a:off x="305722" y="269158"/>
            <a:ext cx="326244" cy="1127842"/>
            <a:chOff x="148020" y="723900"/>
            <a:chExt cx="326244" cy="1127842"/>
          </a:xfrm>
        </p:grpSpPr>
        <p:sp>
          <p:nvSpPr>
            <p:cNvPr id="26" name="bk object 17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C48A31AD-38B6-4F4C-8E26-1B1537FB3518}"/>
                </a:ext>
              </a:extLst>
            </p:cNvPr>
            <p:cNvSpPr/>
            <p:nvPr userDrawn="1"/>
          </p:nvSpPr>
          <p:spPr>
            <a:xfrm>
              <a:off x="257498" y="1450856"/>
              <a:ext cx="70485" cy="82550"/>
            </a:xfrm>
            <a:custGeom>
              <a:avLst/>
              <a:gdLst/>
              <a:ahLst/>
              <a:cxnLst/>
              <a:rect l="l" t="t" r="r" b="b"/>
              <a:pathLst>
                <a:path w="70484" h="82550">
                  <a:moveTo>
                    <a:pt x="0" y="0"/>
                  </a:moveTo>
                  <a:lnTo>
                    <a:pt x="0" y="82296"/>
                  </a:lnTo>
                  <a:lnTo>
                    <a:pt x="70104" y="41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27" name="Freeform: Shape 26">
              <a:hlinkClick r:id="" action="ppaction://hlinkshowjump?jump=firstslide"/>
              <a:extLst>
                <a:ext uri="{FF2B5EF4-FFF2-40B4-BE49-F238E27FC236}">
                  <a16:creationId xmlns:a16="http://schemas.microsoft.com/office/drawing/2014/main" id="{59BFB40D-BC6A-449C-9C56-8964633FBCAF}"/>
                </a:ext>
              </a:extLst>
            </p:cNvPr>
            <p:cNvSpPr/>
            <p:nvPr userDrawn="1"/>
          </p:nvSpPr>
          <p:spPr>
            <a:xfrm>
              <a:off x="239313" y="1148041"/>
              <a:ext cx="106855" cy="103262"/>
            </a:xfrm>
            <a:custGeom>
              <a:avLst/>
              <a:gdLst>
                <a:gd name="connsiteX0" fmla="*/ 224544 w 550774"/>
                <a:gd name="connsiteY0" fmla="*/ 531018 h 532254"/>
                <a:gd name="connsiteX1" fmla="*/ 326937 w 550774"/>
                <a:gd name="connsiteY1" fmla="*/ 531018 h 532254"/>
                <a:gd name="connsiteX2" fmla="*/ 326937 w 550774"/>
                <a:gd name="connsiteY2" fmla="*/ 532254 h 532254"/>
                <a:gd name="connsiteX3" fmla="*/ 224544 w 550774"/>
                <a:gd name="connsiteY3" fmla="*/ 532254 h 532254"/>
                <a:gd name="connsiteX4" fmla="*/ 281694 w 550774"/>
                <a:gd name="connsiteY4" fmla="*/ 0 h 532254"/>
                <a:gd name="connsiteX5" fmla="*/ 550774 w 550774"/>
                <a:gd name="connsiteY5" fmla="*/ 252412 h 532254"/>
                <a:gd name="connsiteX6" fmla="*/ 550774 w 550774"/>
                <a:gd name="connsiteY6" fmla="*/ 531018 h 532254"/>
                <a:gd name="connsiteX7" fmla="*/ 326937 w 550774"/>
                <a:gd name="connsiteY7" fmla="*/ 531018 h 532254"/>
                <a:gd name="connsiteX8" fmla="*/ 326937 w 550774"/>
                <a:gd name="connsiteY8" fmla="*/ 292894 h 532254"/>
                <a:gd name="connsiteX9" fmla="*/ 224544 w 550774"/>
                <a:gd name="connsiteY9" fmla="*/ 292894 h 532254"/>
                <a:gd name="connsiteX10" fmla="*/ 224544 w 550774"/>
                <a:gd name="connsiteY10" fmla="*/ 531018 h 532254"/>
                <a:gd name="connsiteX11" fmla="*/ 705 w 550774"/>
                <a:gd name="connsiteY11" fmla="*/ 531018 h 532254"/>
                <a:gd name="connsiteX12" fmla="*/ 705 w 550774"/>
                <a:gd name="connsiteY12" fmla="*/ 252412 h 532254"/>
                <a:gd name="connsiteX13" fmla="*/ 281694 w 550774"/>
                <a:gd name="connsiteY13" fmla="*/ 0 h 53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0774" h="532254">
                  <a:moveTo>
                    <a:pt x="224544" y="531018"/>
                  </a:moveTo>
                  <a:lnTo>
                    <a:pt x="326937" y="531018"/>
                  </a:lnTo>
                  <a:lnTo>
                    <a:pt x="326937" y="532254"/>
                  </a:lnTo>
                  <a:lnTo>
                    <a:pt x="224544" y="532254"/>
                  </a:lnTo>
                  <a:close/>
                  <a:moveTo>
                    <a:pt x="281694" y="0"/>
                  </a:moveTo>
                  <a:cubicBezTo>
                    <a:pt x="276139" y="0"/>
                    <a:pt x="461081" y="170656"/>
                    <a:pt x="550774" y="252412"/>
                  </a:cubicBezTo>
                  <a:lnTo>
                    <a:pt x="550774" y="531018"/>
                  </a:lnTo>
                  <a:lnTo>
                    <a:pt x="326937" y="531018"/>
                  </a:lnTo>
                  <a:lnTo>
                    <a:pt x="326937" y="292894"/>
                  </a:lnTo>
                  <a:lnTo>
                    <a:pt x="224544" y="292894"/>
                  </a:lnTo>
                  <a:lnTo>
                    <a:pt x="224544" y="531018"/>
                  </a:lnTo>
                  <a:lnTo>
                    <a:pt x="705" y="531018"/>
                  </a:lnTo>
                  <a:cubicBezTo>
                    <a:pt x="705" y="438149"/>
                    <a:pt x="-882" y="252809"/>
                    <a:pt x="705" y="252412"/>
                  </a:cubicBezTo>
                  <a:cubicBezTo>
                    <a:pt x="2292" y="252015"/>
                    <a:pt x="287249" y="0"/>
                    <a:pt x="281694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4D20F0D-28DC-4CEA-87AF-ED65BCCB4BD9}"/>
                </a:ext>
              </a:extLst>
            </p:cNvPr>
            <p:cNvSpPr/>
            <p:nvPr userDrawn="1"/>
          </p:nvSpPr>
          <p:spPr>
            <a:xfrm>
              <a:off x="192519" y="1107062"/>
              <a:ext cx="200443" cy="200443"/>
            </a:xfrm>
            <a:prstGeom prst="ellipse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6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75471FF-3CE8-42BD-9D6F-014F35D0F034}"/>
                </a:ext>
              </a:extLst>
            </p:cNvPr>
            <p:cNvSpPr/>
            <p:nvPr userDrawn="1"/>
          </p:nvSpPr>
          <p:spPr>
            <a:xfrm>
              <a:off x="192519" y="1384766"/>
              <a:ext cx="200443" cy="200443"/>
            </a:xfrm>
            <a:prstGeom prst="ellipse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6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F7242BF-9963-4BFA-885F-1D9D244CC0D9}"/>
                </a:ext>
              </a:extLst>
            </p:cNvPr>
            <p:cNvSpPr/>
            <p:nvPr userDrawn="1"/>
          </p:nvSpPr>
          <p:spPr>
            <a:xfrm>
              <a:off x="192519" y="1651299"/>
              <a:ext cx="200443" cy="200443"/>
            </a:xfrm>
            <a:prstGeom prst="ellipse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6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32" name="bk object 17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FDCE2857-185D-4D51-A672-5BF2547F5044}"/>
                </a:ext>
              </a:extLst>
            </p:cNvPr>
            <p:cNvSpPr/>
            <p:nvPr userDrawn="1"/>
          </p:nvSpPr>
          <p:spPr>
            <a:xfrm>
              <a:off x="257498" y="1450856"/>
              <a:ext cx="70485" cy="82550"/>
            </a:xfrm>
            <a:custGeom>
              <a:avLst/>
              <a:gdLst/>
              <a:ahLst/>
              <a:cxnLst/>
              <a:rect l="l" t="t" r="r" b="b"/>
              <a:pathLst>
                <a:path w="70484" h="82550">
                  <a:moveTo>
                    <a:pt x="0" y="0"/>
                  </a:moveTo>
                  <a:lnTo>
                    <a:pt x="0" y="82296"/>
                  </a:lnTo>
                  <a:lnTo>
                    <a:pt x="70104" y="41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33" name="bk object 18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51CBC5AA-DE79-4618-A2BD-5EA02E2A4CEC}"/>
                </a:ext>
              </a:extLst>
            </p:cNvPr>
            <p:cNvSpPr/>
            <p:nvPr userDrawn="1"/>
          </p:nvSpPr>
          <p:spPr>
            <a:xfrm>
              <a:off x="244801" y="1710245"/>
              <a:ext cx="70485" cy="82550"/>
            </a:xfrm>
            <a:custGeom>
              <a:avLst/>
              <a:gdLst/>
              <a:ahLst/>
              <a:cxnLst/>
              <a:rect l="l" t="t" r="r" b="b"/>
              <a:pathLst>
                <a:path w="70484" h="82550">
                  <a:moveTo>
                    <a:pt x="70103" y="0"/>
                  </a:moveTo>
                  <a:lnTo>
                    <a:pt x="0" y="41148"/>
                  </a:lnTo>
                  <a:lnTo>
                    <a:pt x="70103" y="82296"/>
                  </a:lnTo>
                  <a:lnTo>
                    <a:pt x="70103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34" name="Freeform: Shape 33">
              <a:hlinkClick r:id="" action="ppaction://hlinkshowjump?jump=firstslide"/>
              <a:extLst>
                <a:ext uri="{FF2B5EF4-FFF2-40B4-BE49-F238E27FC236}">
                  <a16:creationId xmlns:a16="http://schemas.microsoft.com/office/drawing/2014/main" id="{8486C58A-F94D-4EEC-AA38-30B9F4D3C0C7}"/>
                </a:ext>
              </a:extLst>
            </p:cNvPr>
            <p:cNvSpPr/>
            <p:nvPr userDrawn="1"/>
          </p:nvSpPr>
          <p:spPr>
            <a:xfrm>
              <a:off x="239313" y="1148041"/>
              <a:ext cx="106855" cy="103262"/>
            </a:xfrm>
            <a:custGeom>
              <a:avLst/>
              <a:gdLst>
                <a:gd name="connsiteX0" fmla="*/ 224544 w 550774"/>
                <a:gd name="connsiteY0" fmla="*/ 531018 h 532254"/>
                <a:gd name="connsiteX1" fmla="*/ 326937 w 550774"/>
                <a:gd name="connsiteY1" fmla="*/ 531018 h 532254"/>
                <a:gd name="connsiteX2" fmla="*/ 326937 w 550774"/>
                <a:gd name="connsiteY2" fmla="*/ 532254 h 532254"/>
                <a:gd name="connsiteX3" fmla="*/ 224544 w 550774"/>
                <a:gd name="connsiteY3" fmla="*/ 532254 h 532254"/>
                <a:gd name="connsiteX4" fmla="*/ 281694 w 550774"/>
                <a:gd name="connsiteY4" fmla="*/ 0 h 532254"/>
                <a:gd name="connsiteX5" fmla="*/ 550774 w 550774"/>
                <a:gd name="connsiteY5" fmla="*/ 252412 h 532254"/>
                <a:gd name="connsiteX6" fmla="*/ 550774 w 550774"/>
                <a:gd name="connsiteY6" fmla="*/ 531018 h 532254"/>
                <a:gd name="connsiteX7" fmla="*/ 326937 w 550774"/>
                <a:gd name="connsiteY7" fmla="*/ 531018 h 532254"/>
                <a:gd name="connsiteX8" fmla="*/ 326937 w 550774"/>
                <a:gd name="connsiteY8" fmla="*/ 292894 h 532254"/>
                <a:gd name="connsiteX9" fmla="*/ 224544 w 550774"/>
                <a:gd name="connsiteY9" fmla="*/ 292894 h 532254"/>
                <a:gd name="connsiteX10" fmla="*/ 224544 w 550774"/>
                <a:gd name="connsiteY10" fmla="*/ 531018 h 532254"/>
                <a:gd name="connsiteX11" fmla="*/ 705 w 550774"/>
                <a:gd name="connsiteY11" fmla="*/ 531018 h 532254"/>
                <a:gd name="connsiteX12" fmla="*/ 705 w 550774"/>
                <a:gd name="connsiteY12" fmla="*/ 252412 h 532254"/>
                <a:gd name="connsiteX13" fmla="*/ 281694 w 550774"/>
                <a:gd name="connsiteY13" fmla="*/ 0 h 53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0774" h="532254">
                  <a:moveTo>
                    <a:pt x="224544" y="531018"/>
                  </a:moveTo>
                  <a:lnTo>
                    <a:pt x="326937" y="531018"/>
                  </a:lnTo>
                  <a:lnTo>
                    <a:pt x="326937" y="532254"/>
                  </a:lnTo>
                  <a:lnTo>
                    <a:pt x="224544" y="532254"/>
                  </a:lnTo>
                  <a:close/>
                  <a:moveTo>
                    <a:pt x="281694" y="0"/>
                  </a:moveTo>
                  <a:cubicBezTo>
                    <a:pt x="276139" y="0"/>
                    <a:pt x="461081" y="170656"/>
                    <a:pt x="550774" y="252412"/>
                  </a:cubicBezTo>
                  <a:lnTo>
                    <a:pt x="550774" y="531018"/>
                  </a:lnTo>
                  <a:lnTo>
                    <a:pt x="326937" y="531018"/>
                  </a:lnTo>
                  <a:lnTo>
                    <a:pt x="326937" y="292894"/>
                  </a:lnTo>
                  <a:lnTo>
                    <a:pt x="224544" y="292894"/>
                  </a:lnTo>
                  <a:lnTo>
                    <a:pt x="224544" y="531018"/>
                  </a:lnTo>
                  <a:lnTo>
                    <a:pt x="705" y="531018"/>
                  </a:lnTo>
                  <a:cubicBezTo>
                    <a:pt x="705" y="438149"/>
                    <a:pt x="-882" y="252809"/>
                    <a:pt x="705" y="252412"/>
                  </a:cubicBezTo>
                  <a:cubicBezTo>
                    <a:pt x="2292" y="252015"/>
                    <a:pt x="287249" y="0"/>
                    <a:pt x="281694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7CBFE1B-3767-4B26-AB9D-4224BF52CBB1}"/>
                </a:ext>
              </a:extLst>
            </p:cNvPr>
            <p:cNvSpPr/>
            <p:nvPr userDrawn="1"/>
          </p:nvSpPr>
          <p:spPr>
            <a:xfrm>
              <a:off x="192519" y="1107062"/>
              <a:ext cx="200443" cy="200443"/>
            </a:xfrm>
            <a:prstGeom prst="ellipse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6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CE2AB07-9B68-4D2F-A927-EA9278DF24F7}"/>
                </a:ext>
              </a:extLst>
            </p:cNvPr>
            <p:cNvSpPr/>
            <p:nvPr userDrawn="1"/>
          </p:nvSpPr>
          <p:spPr>
            <a:xfrm>
              <a:off x="192519" y="1384766"/>
              <a:ext cx="200443" cy="200443"/>
            </a:xfrm>
            <a:prstGeom prst="ellipse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6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2CCA1B5-FD5F-4278-983E-5A3883EB6C63}"/>
                </a:ext>
              </a:extLst>
            </p:cNvPr>
            <p:cNvSpPr/>
            <p:nvPr userDrawn="1"/>
          </p:nvSpPr>
          <p:spPr>
            <a:xfrm>
              <a:off x="192519" y="1651299"/>
              <a:ext cx="200443" cy="200443"/>
            </a:xfrm>
            <a:prstGeom prst="ellipse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6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 descr="Right pointing backhand index with solid fill">
              <a:extLst>
                <a:ext uri="{FF2B5EF4-FFF2-40B4-BE49-F238E27FC236}">
                  <a16:creationId xmlns:a16="http://schemas.microsoft.com/office/drawing/2014/main" id="{CEEB797A-6982-4E13-821C-5B13E4D1530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8"/>
                </a:ext>
              </a:extLst>
            </a:blip>
            <a:stretch>
              <a:fillRect/>
            </a:stretch>
          </p:blipFill>
          <p:spPr>
            <a:xfrm rot="2923418">
              <a:off x="148020" y="723900"/>
              <a:ext cx="253442" cy="253442"/>
            </a:xfrm>
            <a:prstGeom prst="rect">
              <a:avLst/>
            </a:prstGeom>
          </p:spPr>
        </p:pic>
        <p:sp>
          <p:nvSpPr>
            <p:cNvPr id="39" name="Graphic 9">
              <a:extLst>
                <a:ext uri="{FF2B5EF4-FFF2-40B4-BE49-F238E27FC236}">
                  <a16:creationId xmlns:a16="http://schemas.microsoft.com/office/drawing/2014/main" id="{B8B79D28-5F4A-4D1A-8B2F-3E193F1E93ED}"/>
                </a:ext>
              </a:extLst>
            </p:cNvPr>
            <p:cNvSpPr/>
            <p:nvPr userDrawn="1"/>
          </p:nvSpPr>
          <p:spPr>
            <a:xfrm rot="19445865">
              <a:off x="290340" y="900186"/>
              <a:ext cx="183924" cy="91229"/>
            </a:xfrm>
            <a:custGeom>
              <a:avLst/>
              <a:gdLst>
                <a:gd name="connsiteX0" fmla="*/ 146878 w 183924"/>
                <a:gd name="connsiteY0" fmla="*/ 10199 h 97541"/>
                <a:gd name="connsiteX1" fmla="*/ 141910 w 183924"/>
                <a:gd name="connsiteY1" fmla="*/ 5317 h 97541"/>
                <a:gd name="connsiteX2" fmla="*/ 146791 w 183924"/>
                <a:gd name="connsiteY2" fmla="*/ 349 h 97541"/>
                <a:gd name="connsiteX3" fmla="*/ 178956 w 183924"/>
                <a:gd name="connsiteY3" fmla="*/ 0 h 97541"/>
                <a:gd name="connsiteX4" fmla="*/ 183925 w 183924"/>
                <a:gd name="connsiteY4" fmla="*/ 4881 h 97541"/>
                <a:gd name="connsiteX5" fmla="*/ 179043 w 183924"/>
                <a:gd name="connsiteY5" fmla="*/ 9850 h 97541"/>
                <a:gd name="connsiteX6" fmla="*/ 146878 w 183924"/>
                <a:gd name="connsiteY6" fmla="*/ 10112 h 97541"/>
                <a:gd name="connsiteX7" fmla="*/ 146878 w 183924"/>
                <a:gd name="connsiteY7" fmla="*/ 10112 h 97541"/>
                <a:gd name="connsiteX8" fmla="*/ 127701 w 183924"/>
                <a:gd name="connsiteY8" fmla="*/ 47681 h 97541"/>
                <a:gd name="connsiteX9" fmla="*/ 127701 w 183924"/>
                <a:gd name="connsiteY9" fmla="*/ 40708 h 97541"/>
                <a:gd name="connsiteX10" fmla="*/ 134762 w 183924"/>
                <a:gd name="connsiteY10" fmla="*/ 40708 h 97541"/>
                <a:gd name="connsiteX11" fmla="*/ 157774 w 183924"/>
                <a:gd name="connsiteY11" fmla="*/ 63284 h 97541"/>
                <a:gd name="connsiteX12" fmla="*/ 157774 w 183924"/>
                <a:gd name="connsiteY12" fmla="*/ 70258 h 97541"/>
                <a:gd name="connsiteX13" fmla="*/ 150801 w 183924"/>
                <a:gd name="connsiteY13" fmla="*/ 70258 h 97541"/>
                <a:gd name="connsiteX14" fmla="*/ 127788 w 183924"/>
                <a:gd name="connsiteY14" fmla="*/ 47681 h 97541"/>
                <a:gd name="connsiteX15" fmla="*/ 127788 w 183924"/>
                <a:gd name="connsiteY15" fmla="*/ 47681 h 97541"/>
                <a:gd name="connsiteX16" fmla="*/ 37046 w 183924"/>
                <a:gd name="connsiteY16" fmla="*/ 1133 h 97541"/>
                <a:gd name="connsiteX17" fmla="*/ 42015 w 183924"/>
                <a:gd name="connsiteY17" fmla="*/ 6015 h 97541"/>
                <a:gd name="connsiteX18" fmla="*/ 37134 w 183924"/>
                <a:gd name="connsiteY18" fmla="*/ 10983 h 97541"/>
                <a:gd name="connsiteX19" fmla="*/ 4969 w 183924"/>
                <a:gd name="connsiteY19" fmla="*/ 11245 h 97541"/>
                <a:gd name="connsiteX20" fmla="*/ 0 w 183924"/>
                <a:gd name="connsiteY20" fmla="*/ 6363 h 97541"/>
                <a:gd name="connsiteX21" fmla="*/ 4881 w 183924"/>
                <a:gd name="connsiteY21" fmla="*/ 1395 h 97541"/>
                <a:gd name="connsiteX22" fmla="*/ 37046 w 183924"/>
                <a:gd name="connsiteY22" fmla="*/ 1133 h 97541"/>
                <a:gd name="connsiteX23" fmla="*/ 37046 w 183924"/>
                <a:gd name="connsiteY23" fmla="*/ 1133 h 97541"/>
                <a:gd name="connsiteX24" fmla="*/ 50034 w 183924"/>
                <a:gd name="connsiteY24" fmla="*/ 41231 h 97541"/>
                <a:gd name="connsiteX25" fmla="*/ 57095 w 183924"/>
                <a:gd name="connsiteY25" fmla="*/ 41231 h 97541"/>
                <a:gd name="connsiteX26" fmla="*/ 57095 w 183924"/>
                <a:gd name="connsiteY26" fmla="*/ 48204 h 97541"/>
                <a:gd name="connsiteX27" fmla="*/ 34606 w 183924"/>
                <a:gd name="connsiteY27" fmla="*/ 71129 h 97541"/>
                <a:gd name="connsiteX28" fmla="*/ 27632 w 183924"/>
                <a:gd name="connsiteY28" fmla="*/ 71129 h 97541"/>
                <a:gd name="connsiteX29" fmla="*/ 27632 w 183924"/>
                <a:gd name="connsiteY29" fmla="*/ 64156 h 97541"/>
                <a:gd name="connsiteX30" fmla="*/ 50122 w 183924"/>
                <a:gd name="connsiteY30" fmla="*/ 41231 h 97541"/>
                <a:gd name="connsiteX31" fmla="*/ 50122 w 183924"/>
                <a:gd name="connsiteY31" fmla="*/ 41231 h 97541"/>
                <a:gd name="connsiteX32" fmla="*/ 87604 w 183924"/>
                <a:gd name="connsiteY32" fmla="*/ 60495 h 97541"/>
                <a:gd name="connsiteX33" fmla="*/ 92485 w 183924"/>
                <a:gd name="connsiteY33" fmla="*/ 55526 h 97541"/>
                <a:gd name="connsiteX34" fmla="*/ 97454 w 183924"/>
                <a:gd name="connsiteY34" fmla="*/ 60408 h 97541"/>
                <a:gd name="connsiteX35" fmla="*/ 97803 w 183924"/>
                <a:gd name="connsiteY35" fmla="*/ 92573 h 97541"/>
                <a:gd name="connsiteX36" fmla="*/ 92921 w 183924"/>
                <a:gd name="connsiteY36" fmla="*/ 97541 h 97541"/>
                <a:gd name="connsiteX37" fmla="*/ 87953 w 183924"/>
                <a:gd name="connsiteY37" fmla="*/ 92660 h 97541"/>
                <a:gd name="connsiteX38" fmla="*/ 87604 w 183924"/>
                <a:gd name="connsiteY38" fmla="*/ 60495 h 97541"/>
                <a:gd name="connsiteX39" fmla="*/ 87604 w 183924"/>
                <a:gd name="connsiteY39" fmla="*/ 60495 h 97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83924" h="97541">
                  <a:moveTo>
                    <a:pt x="146878" y="10199"/>
                  </a:moveTo>
                  <a:cubicBezTo>
                    <a:pt x="144176" y="10199"/>
                    <a:pt x="141910" y="8019"/>
                    <a:pt x="141910" y="5317"/>
                  </a:cubicBezTo>
                  <a:cubicBezTo>
                    <a:pt x="141910" y="2615"/>
                    <a:pt x="144089" y="349"/>
                    <a:pt x="146791" y="349"/>
                  </a:cubicBezTo>
                  <a:lnTo>
                    <a:pt x="178956" y="0"/>
                  </a:lnTo>
                  <a:cubicBezTo>
                    <a:pt x="181658" y="0"/>
                    <a:pt x="183925" y="2179"/>
                    <a:pt x="183925" y="4881"/>
                  </a:cubicBezTo>
                  <a:cubicBezTo>
                    <a:pt x="183925" y="7584"/>
                    <a:pt x="181745" y="9850"/>
                    <a:pt x="179043" y="9850"/>
                  </a:cubicBezTo>
                  <a:lnTo>
                    <a:pt x="146878" y="10112"/>
                  </a:lnTo>
                  <a:lnTo>
                    <a:pt x="146878" y="10112"/>
                  </a:lnTo>
                  <a:close/>
                  <a:moveTo>
                    <a:pt x="127701" y="47681"/>
                  </a:moveTo>
                  <a:cubicBezTo>
                    <a:pt x="125784" y="45763"/>
                    <a:pt x="125696" y="42625"/>
                    <a:pt x="127701" y="40708"/>
                  </a:cubicBezTo>
                  <a:cubicBezTo>
                    <a:pt x="129619" y="38790"/>
                    <a:pt x="132757" y="38703"/>
                    <a:pt x="134762" y="40708"/>
                  </a:cubicBezTo>
                  <a:lnTo>
                    <a:pt x="157774" y="63284"/>
                  </a:lnTo>
                  <a:cubicBezTo>
                    <a:pt x="159692" y="65202"/>
                    <a:pt x="159779" y="68340"/>
                    <a:pt x="157774" y="70258"/>
                  </a:cubicBezTo>
                  <a:cubicBezTo>
                    <a:pt x="155857" y="72175"/>
                    <a:pt x="152719" y="72262"/>
                    <a:pt x="150801" y="70258"/>
                  </a:cubicBezTo>
                  <a:lnTo>
                    <a:pt x="127788" y="47681"/>
                  </a:lnTo>
                  <a:lnTo>
                    <a:pt x="127788" y="47681"/>
                  </a:lnTo>
                  <a:close/>
                  <a:moveTo>
                    <a:pt x="37046" y="1133"/>
                  </a:moveTo>
                  <a:cubicBezTo>
                    <a:pt x="39749" y="1133"/>
                    <a:pt x="42015" y="3312"/>
                    <a:pt x="42015" y="6015"/>
                  </a:cubicBezTo>
                  <a:cubicBezTo>
                    <a:pt x="42015" y="8717"/>
                    <a:pt x="39836" y="10983"/>
                    <a:pt x="37134" y="10983"/>
                  </a:cubicBezTo>
                  <a:lnTo>
                    <a:pt x="4969" y="11245"/>
                  </a:lnTo>
                  <a:cubicBezTo>
                    <a:pt x="2266" y="11332"/>
                    <a:pt x="0" y="9065"/>
                    <a:pt x="0" y="6363"/>
                  </a:cubicBezTo>
                  <a:cubicBezTo>
                    <a:pt x="0" y="3661"/>
                    <a:pt x="2179" y="1395"/>
                    <a:pt x="4881" y="1395"/>
                  </a:cubicBezTo>
                  <a:lnTo>
                    <a:pt x="37046" y="1133"/>
                  </a:lnTo>
                  <a:lnTo>
                    <a:pt x="37046" y="1133"/>
                  </a:lnTo>
                  <a:close/>
                  <a:moveTo>
                    <a:pt x="50034" y="41231"/>
                  </a:moveTo>
                  <a:cubicBezTo>
                    <a:pt x="51952" y="39313"/>
                    <a:pt x="55090" y="39226"/>
                    <a:pt x="57095" y="41231"/>
                  </a:cubicBezTo>
                  <a:cubicBezTo>
                    <a:pt x="59013" y="43148"/>
                    <a:pt x="59100" y="46286"/>
                    <a:pt x="57095" y="48204"/>
                  </a:cubicBezTo>
                  <a:lnTo>
                    <a:pt x="34606" y="71129"/>
                  </a:lnTo>
                  <a:cubicBezTo>
                    <a:pt x="32688" y="73047"/>
                    <a:pt x="29550" y="73134"/>
                    <a:pt x="27632" y="71129"/>
                  </a:cubicBezTo>
                  <a:cubicBezTo>
                    <a:pt x="25715" y="69212"/>
                    <a:pt x="25627" y="66073"/>
                    <a:pt x="27632" y="64156"/>
                  </a:cubicBezTo>
                  <a:lnTo>
                    <a:pt x="50122" y="41231"/>
                  </a:lnTo>
                  <a:lnTo>
                    <a:pt x="50122" y="41231"/>
                  </a:lnTo>
                  <a:close/>
                  <a:moveTo>
                    <a:pt x="87604" y="60495"/>
                  </a:moveTo>
                  <a:cubicBezTo>
                    <a:pt x="87604" y="57793"/>
                    <a:pt x="89783" y="55526"/>
                    <a:pt x="92485" y="55526"/>
                  </a:cubicBezTo>
                  <a:cubicBezTo>
                    <a:pt x="95188" y="55526"/>
                    <a:pt x="97454" y="57705"/>
                    <a:pt x="97454" y="60408"/>
                  </a:cubicBezTo>
                  <a:lnTo>
                    <a:pt x="97803" y="92573"/>
                  </a:lnTo>
                  <a:cubicBezTo>
                    <a:pt x="97803" y="95275"/>
                    <a:pt x="95623" y="97541"/>
                    <a:pt x="92921" y="97541"/>
                  </a:cubicBezTo>
                  <a:cubicBezTo>
                    <a:pt x="90219" y="97541"/>
                    <a:pt x="87953" y="95362"/>
                    <a:pt x="87953" y="92660"/>
                  </a:cubicBezTo>
                  <a:lnTo>
                    <a:pt x="87604" y="60495"/>
                  </a:lnTo>
                  <a:lnTo>
                    <a:pt x="87604" y="60495"/>
                  </a:lnTo>
                  <a:close/>
                </a:path>
              </a:pathLst>
            </a:custGeom>
            <a:solidFill>
              <a:srgbClr val="A8A8A8"/>
            </a:solidFill>
            <a:ln w="8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0488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</p:sldLayoutIdLst>
  <p:txStyles>
    <p:titleStyle>
      <a:lvl1pPr algn="l" defTabSz="914399" rtl="0" eaLnBrk="1" latinLnBrk="0" hangingPunct="1">
        <a:lnSpc>
          <a:spcPct val="70000"/>
        </a:lnSpc>
        <a:spcBef>
          <a:spcPct val="0"/>
        </a:spcBef>
        <a:buNone/>
        <a:defRPr sz="2800" kern="1200">
          <a:solidFill>
            <a:schemeClr val="accent2"/>
          </a:solidFill>
          <a:latin typeface="Raleway" panose="020B0503030101060003" pitchFamily="34" charset="0"/>
          <a:ea typeface="+mj-ea"/>
          <a:cs typeface="+mj-cs"/>
        </a:defRPr>
      </a:lvl1pPr>
    </p:titleStyle>
    <p:bodyStyle>
      <a:lvl1pPr marL="0" indent="0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FontTx/>
        <a:buNone/>
        <a:defRPr sz="15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FontTx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4" indent="-180974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Tx/>
        <a:buFont typeface="Arial" panose="020B0604020202020204" pitchFamily="34" charset="0"/>
        <a:buChar char="•"/>
        <a:defRPr sz="15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1" indent="-180974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Tx/>
        <a:buFont typeface="Arial" panose="020B0604020202020204" pitchFamily="34" charset="0"/>
        <a:buChar char="-"/>
        <a:defRPr sz="15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6" indent="-180974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Tx/>
        <a:buFont typeface="Arial" panose="020B0604020202020204" pitchFamily="34" charset="0"/>
        <a:buChar char="•"/>
        <a:defRPr sz="15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9" indent="-180974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9" indent="-177800" algn="l" defTabSz="914399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2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99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0">
          <p15:clr>
            <a:srgbClr val="F26B43"/>
          </p15:clr>
        </p15:guide>
        <p15:guide id="3" pos="7200">
          <p15:clr>
            <a:srgbClr val="F26B43"/>
          </p15:clr>
        </p15:guide>
        <p15:guide id="4" orient="horz" pos="912">
          <p15:clr>
            <a:srgbClr val="F26B43"/>
          </p15:clr>
        </p15:guide>
        <p15:guide id="5" orient="horz" pos="816">
          <p15:clr>
            <a:srgbClr val="F26B43"/>
          </p15:clr>
        </p15:guide>
        <p15:guide id="6" orient="horz" pos="456">
          <p15:clr>
            <a:srgbClr val="F26B43"/>
          </p15:clr>
        </p15:guide>
        <p15:guide id="7" orient="horz" pos="3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antoor hal" descr="Afbeelding met vloer, binnen, gebouw, hout&#10;&#10;Automatisch gegenereerde beschrijving">
            <a:extLst>
              <a:ext uri="{FF2B5EF4-FFF2-40B4-BE49-F238E27FC236}">
                <a16:creationId xmlns:a16="http://schemas.microsoft.com/office/drawing/2014/main" id="{E808DF9F-A29A-4844-6AB0-9FDD6541894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24" y="-1"/>
            <a:ext cx="12186276" cy="4860001"/>
          </a:xfrm>
          <a:prstGeom prst="rect">
            <a:avLst/>
          </a:prstGeom>
        </p:spPr>
      </p:pic>
      <p:sp>
        <p:nvSpPr>
          <p:cNvPr id="6" name="Donker filter">
            <a:extLst>
              <a:ext uri="{FF2B5EF4-FFF2-40B4-BE49-F238E27FC236}">
                <a16:creationId xmlns:a16="http://schemas.microsoft.com/office/drawing/2014/main" id="{06E8B4E4-6C9F-A2BB-144E-50ADFF6F250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862" y="0"/>
            <a:ext cx="12186276" cy="486000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Ondertitel 9">
            <a:extLst>
              <a:ext uri="{FF2B5EF4-FFF2-40B4-BE49-F238E27FC236}">
                <a16:creationId xmlns:a16="http://schemas.microsoft.com/office/drawing/2014/main" id="{2382D036-E635-796E-977C-35A3337DEE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Richard Weurding</a:t>
            </a:r>
          </a:p>
          <a:p>
            <a:r>
              <a:rPr lang="nl-NL" dirty="0"/>
              <a:t>UvA symposium, 24 november 2023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F88F34CB-A722-041C-1845-BC1DE75C1C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uurzaamheid in Solvency II</a:t>
            </a:r>
          </a:p>
        </p:txBody>
      </p:sp>
    </p:spTree>
    <p:extLst>
      <p:ext uri="{BB962C8B-B14F-4D97-AF65-F5344CB8AC3E}">
        <p14:creationId xmlns:p14="http://schemas.microsoft.com/office/powerpoint/2010/main" val="22120276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maatverdrag Parijs 2015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6"/>
            <a:ext cx="10970255" cy="4812233"/>
          </a:xfrm>
          <a:prstGeom prst="roundRect">
            <a:avLst>
              <a:gd name="adj" fmla="val 4799"/>
            </a:avLst>
          </a:prstGeom>
        </p:spPr>
        <p:txBody>
          <a:bodyPr>
            <a:noAutofit/>
          </a:bodyPr>
          <a:lstStyle/>
          <a:p>
            <a:r>
              <a:rPr lang="nl-NL" sz="2300" b="1" dirty="0">
                <a:solidFill>
                  <a:srgbClr val="4D4D4D"/>
                </a:solidFill>
                <a:latin typeface="Raleway" panose="020B0503030101060003" pitchFamily="34" charset="0"/>
              </a:rPr>
              <a:t>fysieke risico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300" dirty="0">
                <a:solidFill>
                  <a:srgbClr val="4D4D4D"/>
                </a:solidFill>
                <a:latin typeface="Raleway" panose="020B0503030101060003" pitchFamily="34" charset="0"/>
              </a:rPr>
              <a:t>de impact op verplichtingen van verzekeraars en de waarde van de beleggingen door klimaat- en weer- gerelateerde gebeurtenissen </a:t>
            </a:r>
          </a:p>
          <a:p>
            <a:r>
              <a:rPr lang="nl-NL" sz="2300" b="1" dirty="0">
                <a:solidFill>
                  <a:srgbClr val="4D4D4D"/>
                </a:solidFill>
                <a:latin typeface="Raleway" panose="020B0503030101060003" pitchFamily="34" charset="0"/>
              </a:rPr>
              <a:t>aansprakelijkheidsrisico’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300" dirty="0">
                <a:solidFill>
                  <a:srgbClr val="4D4D4D"/>
                </a:solidFill>
                <a:latin typeface="Raleway" panose="020B0503030101060003" pitchFamily="34" charset="0"/>
              </a:rPr>
              <a:t>als slachtoffers van de effecten van klimaatverandering schadevergoeding gaan eisen van bedrijven die zij verantwoordelijk houden (bijv. exploitanten van fossiele delfstoffen) </a:t>
            </a:r>
          </a:p>
          <a:p>
            <a:r>
              <a:rPr lang="nl-NL" sz="2300" b="1" dirty="0">
                <a:solidFill>
                  <a:srgbClr val="4D4D4D"/>
                </a:solidFill>
                <a:latin typeface="Raleway" panose="020B0503030101060003" pitchFamily="34" charset="0"/>
              </a:rPr>
              <a:t>transitierisico’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300" dirty="0">
                <a:solidFill>
                  <a:srgbClr val="4D4D4D"/>
                </a:solidFill>
                <a:latin typeface="Raleway" panose="020B0503030101060003" pitchFamily="34" charset="0"/>
              </a:rPr>
              <a:t>doordat de maatschappij zich aanpast aan klimaatverandering (zoals de energietransitie), die tot </a:t>
            </a:r>
            <a:r>
              <a:rPr lang="nl-NL" sz="2300" dirty="0" err="1">
                <a:solidFill>
                  <a:srgbClr val="4D4D4D"/>
                </a:solidFill>
                <a:latin typeface="Raleway" panose="020B0503030101060003" pitchFamily="34" charset="0"/>
              </a:rPr>
              <a:t>stranded</a:t>
            </a:r>
            <a:r>
              <a:rPr lang="nl-NL" sz="2300" dirty="0">
                <a:solidFill>
                  <a:srgbClr val="4D4D4D"/>
                </a:solidFill>
                <a:latin typeface="Raleway" panose="020B0503030101060003" pitchFamily="34" charset="0"/>
              </a:rPr>
              <a:t> assets kan leiden. </a:t>
            </a:r>
            <a:r>
              <a:rPr lang="nl-NL" sz="2300" dirty="0" err="1">
                <a:solidFill>
                  <a:srgbClr val="4D4D4D"/>
                </a:solidFill>
                <a:latin typeface="Raleway" panose="020B0503030101060003" pitchFamily="34" charset="0"/>
              </a:rPr>
              <a:t>Stranded</a:t>
            </a:r>
            <a:r>
              <a:rPr lang="nl-NL" sz="2300" dirty="0">
                <a:solidFill>
                  <a:srgbClr val="4D4D4D"/>
                </a:solidFill>
                <a:latin typeface="Raleway" panose="020B0503030101060003" pitchFamily="34" charset="0"/>
              </a:rPr>
              <a:t> assets zijn beleggingen die door beleidswijziging van de overheid onverkoopbaar worden</a:t>
            </a:r>
          </a:p>
        </p:txBody>
      </p:sp>
    </p:spTree>
    <p:extLst>
      <p:ext uri="{BB962C8B-B14F-4D97-AF65-F5344CB8AC3E}">
        <p14:creationId xmlns:p14="http://schemas.microsoft.com/office/powerpoint/2010/main" val="4237020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IOPA opinion Sustainability within S II</a:t>
            </a:r>
            <a:endParaRPr lang="nl-NL" dirty="0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6"/>
            <a:ext cx="10970255" cy="4039723"/>
          </a:xfrm>
          <a:prstGeom prst="roundRect">
            <a:avLst>
              <a:gd name="adj" fmla="val 5148"/>
            </a:avLst>
          </a:prstGeo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Waarderingsprincipes van S II voor activa zijn risico-neutra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Duurzaamheidsrisico’s zitten in bestaande risico-modules 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S II neemt aan dat alle relevante risico’s in de marktprijzen van activa zitten</a:t>
            </a:r>
          </a:p>
          <a:p>
            <a:pPr lvl="2" indent="-4572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nl-NL" sz="2400" dirty="0">
                <a:solidFill>
                  <a:srgbClr val="4D4D4D"/>
                </a:solidFill>
                <a:latin typeface="Raleway" panose="020B0503030101060003" pitchFamily="34" charset="0"/>
              </a:rPr>
              <a:t>Is niet zo door </a:t>
            </a:r>
            <a:r>
              <a:rPr lang="nl-NL" sz="2400" b="1" dirty="0">
                <a:solidFill>
                  <a:srgbClr val="4D4D4D"/>
                </a:solidFill>
                <a:latin typeface="Raleway" panose="020B0503030101060003" pitchFamily="34" charset="0"/>
              </a:rPr>
              <a:t>slechte datakwaliteit </a:t>
            </a:r>
            <a:r>
              <a:rPr lang="nl-NL" sz="2400" dirty="0">
                <a:solidFill>
                  <a:srgbClr val="4D4D4D"/>
                </a:solidFill>
                <a:latin typeface="Raleway" panose="020B0503030101060003" pitchFamily="34" charset="0"/>
              </a:rPr>
              <a:t>en </a:t>
            </a:r>
            <a:r>
              <a:rPr lang="nl-NL" sz="2400" b="1" dirty="0">
                <a:solidFill>
                  <a:srgbClr val="4D4D4D"/>
                </a:solidFill>
                <a:latin typeface="Raleway" panose="020B0503030101060003" pitchFamily="34" charset="0"/>
              </a:rPr>
              <a:t>externe effecten </a:t>
            </a:r>
            <a:r>
              <a:rPr lang="nl-NL" sz="2400" dirty="0">
                <a:solidFill>
                  <a:srgbClr val="4D4D4D"/>
                </a:solidFill>
                <a:latin typeface="Raleway" panose="020B0503030101060003" pitchFamily="34" charset="0"/>
              </a:rPr>
              <a:t>van menselijke activiteit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ORSA is passend instrument</a:t>
            </a:r>
          </a:p>
        </p:txBody>
      </p:sp>
    </p:spTree>
    <p:extLst>
      <p:ext uri="{BB962C8B-B14F-4D97-AF65-F5344CB8AC3E}">
        <p14:creationId xmlns:p14="http://schemas.microsoft.com/office/powerpoint/2010/main" val="4045115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uurzaamheid</a:t>
            </a:r>
            <a:r>
              <a:rPr lang="en-US" dirty="0"/>
              <a:t> in Review 2020 Solvency II</a:t>
            </a:r>
            <a:endParaRPr lang="nl-NL" dirty="0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7"/>
            <a:ext cx="10970255" cy="3204150"/>
          </a:xfrm>
          <a:prstGeom prst="roundRect">
            <a:avLst>
              <a:gd name="adj" fmla="val 5148"/>
            </a:avLst>
          </a:prstGeom>
        </p:spPr>
        <p:txBody>
          <a:bodyPr>
            <a:no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2800" dirty="0"/>
              <a:t>Transitieplannen (ook in CSDDD, CSRD/ESRS)</a:t>
            </a:r>
          </a:p>
          <a:p>
            <a:endParaRPr lang="nl-NL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2800" dirty="0"/>
              <a:t>EIOPA onderzoekt green </a:t>
            </a:r>
            <a:r>
              <a:rPr lang="nl-NL" sz="2800" dirty="0" err="1"/>
              <a:t>supporting</a:t>
            </a:r>
            <a:r>
              <a:rPr lang="nl-NL" sz="2800" dirty="0"/>
              <a:t> factor en </a:t>
            </a:r>
            <a:r>
              <a:rPr lang="nl-NL" sz="2800" dirty="0" err="1"/>
              <a:t>brown</a:t>
            </a:r>
            <a:r>
              <a:rPr lang="nl-NL" sz="2800" dirty="0"/>
              <a:t> </a:t>
            </a:r>
            <a:r>
              <a:rPr lang="nl-NL" sz="2800" dirty="0" err="1"/>
              <a:t>penalising</a:t>
            </a:r>
            <a:r>
              <a:rPr lang="nl-NL" sz="2800" dirty="0"/>
              <a:t> factor</a:t>
            </a:r>
          </a:p>
          <a:p>
            <a:endParaRPr lang="nl-NL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2800" dirty="0"/>
              <a:t>Risicomodule natuurrampen (standaardformule) </a:t>
            </a:r>
          </a:p>
        </p:txBody>
      </p:sp>
    </p:spTree>
    <p:extLst>
      <p:ext uri="{BB962C8B-B14F-4D97-AF65-F5344CB8AC3E}">
        <p14:creationId xmlns:p14="http://schemas.microsoft.com/office/powerpoint/2010/main" val="30696314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nsitieplannen</a:t>
            </a:r>
            <a:endParaRPr lang="nl-NL" dirty="0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6"/>
            <a:ext cx="10970255" cy="4516385"/>
          </a:xfrm>
          <a:prstGeom prst="roundRect">
            <a:avLst>
              <a:gd name="adj" fmla="val 5148"/>
            </a:avLst>
          </a:prstGeo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err="1"/>
              <a:t>Specifieke</a:t>
            </a:r>
            <a:r>
              <a:rPr lang="en-US" sz="2800" dirty="0"/>
              <a:t> </a:t>
            </a:r>
            <a:r>
              <a:rPr lang="en-US" sz="2800" dirty="0" err="1"/>
              <a:t>plannen</a:t>
            </a:r>
            <a:r>
              <a:rPr lang="en-US" sz="2800" dirty="0"/>
              <a:t>, </a:t>
            </a:r>
            <a:r>
              <a:rPr lang="en-US" sz="2800" dirty="0" err="1"/>
              <a:t>kwantificeerbare</a:t>
            </a:r>
            <a:r>
              <a:rPr lang="en-US" sz="2800" dirty="0"/>
              <a:t> </a:t>
            </a:r>
            <a:r>
              <a:rPr lang="en-US" sz="2800" dirty="0" err="1"/>
              <a:t>doelen</a:t>
            </a:r>
            <a:r>
              <a:rPr lang="en-US" sz="2800" dirty="0"/>
              <a:t> &amp; </a:t>
            </a:r>
            <a:r>
              <a:rPr lang="en-US" sz="2800" dirty="0" err="1"/>
              <a:t>processen</a:t>
            </a: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om </a:t>
            </a:r>
            <a:r>
              <a:rPr lang="en-US" sz="2800" dirty="0" err="1"/>
              <a:t>klimaatrisico’s</a:t>
            </a:r>
            <a:r>
              <a:rPr lang="en-US" sz="2800" dirty="0"/>
              <a:t> </a:t>
            </a:r>
            <a:r>
              <a:rPr lang="en-US" sz="2800" dirty="0" err="1"/>
              <a:t>te</a:t>
            </a:r>
            <a:r>
              <a:rPr lang="en-US" sz="2800" dirty="0"/>
              <a:t> </a:t>
            </a:r>
            <a:r>
              <a:rPr lang="en-US" sz="2800" dirty="0" err="1"/>
              <a:t>adresseren</a:t>
            </a:r>
            <a:r>
              <a:rPr lang="en-US" sz="2800" dirty="0"/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err="1"/>
              <a:t>inclusief</a:t>
            </a:r>
            <a:r>
              <a:rPr lang="en-US" sz="2800" dirty="0"/>
              <a:t> </a:t>
            </a:r>
            <a:r>
              <a:rPr lang="en-US" sz="2800" dirty="0" err="1"/>
              <a:t>transitierisico’s</a:t>
            </a:r>
            <a:r>
              <a:rPr lang="en-US" sz="2800" dirty="0"/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err="1"/>
              <a:t>richting</a:t>
            </a:r>
            <a:r>
              <a:rPr lang="en-US" sz="2800" dirty="0"/>
              <a:t> het </a:t>
            </a:r>
            <a:r>
              <a:rPr lang="en-US" sz="2800" dirty="0" err="1"/>
              <a:t>doel</a:t>
            </a:r>
            <a:r>
              <a:rPr lang="en-US" sz="2800" dirty="0"/>
              <a:t> van </a:t>
            </a:r>
            <a:r>
              <a:rPr lang="en-US" sz="2800" dirty="0" err="1"/>
              <a:t>klimaatneutraliteit</a:t>
            </a:r>
            <a:r>
              <a:rPr lang="en-US" sz="2800" dirty="0"/>
              <a:t> in 2050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conform de </a:t>
            </a:r>
            <a:r>
              <a:rPr lang="en-US" sz="2800" dirty="0" err="1"/>
              <a:t>Europese</a:t>
            </a:r>
            <a:r>
              <a:rPr lang="en-US" sz="2800" dirty="0"/>
              <a:t> </a:t>
            </a:r>
            <a:r>
              <a:rPr lang="en-US" sz="2800" dirty="0" err="1"/>
              <a:t>klimaatwet</a:t>
            </a:r>
            <a:r>
              <a:rPr lang="en-US" sz="2800" dirty="0"/>
              <a:t> (</a:t>
            </a:r>
            <a:r>
              <a:rPr lang="en-US" sz="2000" dirty="0" err="1">
                <a:solidFill>
                  <a:schemeClr val="tx1"/>
                </a:solidFill>
              </a:rPr>
              <a:t>Verordening</a:t>
            </a:r>
            <a:r>
              <a:rPr lang="en-US" sz="2000" dirty="0">
                <a:solidFill>
                  <a:schemeClr val="tx1"/>
                </a:solidFill>
              </a:rPr>
              <a:t> (EU) 2021/1119)</a:t>
            </a:r>
            <a:endParaRPr lang="nl-NL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8029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 supporting– </a:t>
            </a:r>
            <a:r>
              <a:rPr lang="en-US" dirty="0" err="1"/>
              <a:t>en</a:t>
            </a:r>
            <a:r>
              <a:rPr lang="en-US" dirty="0"/>
              <a:t> brown </a:t>
            </a:r>
            <a:r>
              <a:rPr lang="en-US" dirty="0" err="1"/>
              <a:t>penalising</a:t>
            </a:r>
            <a:r>
              <a:rPr lang="en-US" dirty="0"/>
              <a:t> factor</a:t>
            </a:r>
            <a:endParaRPr lang="nl-NL" dirty="0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7"/>
            <a:ext cx="10970255" cy="3346040"/>
          </a:xfrm>
          <a:prstGeom prst="roundRect">
            <a:avLst>
              <a:gd name="adj" fmla="val 5497"/>
            </a:avLst>
          </a:prstGeom>
        </p:spPr>
        <p:txBody>
          <a:bodyPr>
            <a:no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 err="1"/>
              <a:t>Kapitaaleisen</a:t>
            </a:r>
            <a:r>
              <a:rPr lang="en-US" sz="2800" dirty="0"/>
              <a:t> </a:t>
            </a:r>
            <a:r>
              <a:rPr lang="en-US" sz="2800" dirty="0" err="1"/>
              <a:t>voor</a:t>
            </a:r>
            <a:r>
              <a:rPr lang="en-US" sz="2800" dirty="0"/>
              <a:t> </a:t>
            </a:r>
            <a:r>
              <a:rPr lang="en-US" sz="2800" dirty="0" err="1"/>
              <a:t>banken</a:t>
            </a:r>
            <a:r>
              <a:rPr lang="en-US" sz="2800" dirty="0"/>
              <a:t>: </a:t>
            </a:r>
            <a:r>
              <a:rPr lang="en-US" sz="2800" dirty="0" err="1"/>
              <a:t>ook</a:t>
            </a:r>
            <a:r>
              <a:rPr lang="en-US" sz="2800" dirty="0"/>
              <a:t> </a:t>
            </a:r>
            <a:r>
              <a:rPr lang="en-US" sz="2800" dirty="0" err="1"/>
              <a:t>geschikt</a:t>
            </a:r>
            <a:r>
              <a:rPr lang="en-US" sz="2800" dirty="0"/>
              <a:t> </a:t>
            </a:r>
            <a:r>
              <a:rPr lang="en-US" sz="2800" dirty="0" err="1"/>
              <a:t>voor</a:t>
            </a:r>
            <a:r>
              <a:rPr lang="en-US" sz="2800" dirty="0"/>
              <a:t> Verzekeraars?</a:t>
            </a:r>
          </a:p>
          <a:p>
            <a:endParaRPr lang="en-US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/>
              <a:t>EIOPA </a:t>
            </a:r>
            <a:r>
              <a:rPr lang="en-US" sz="2800" dirty="0" err="1"/>
              <a:t>heeft</a:t>
            </a:r>
            <a:r>
              <a:rPr lang="en-US" sz="2800" dirty="0"/>
              <a:t> </a:t>
            </a:r>
            <a:r>
              <a:rPr lang="en-US" sz="2800" dirty="0" err="1"/>
              <a:t>opdracht</a:t>
            </a:r>
            <a:r>
              <a:rPr lang="en-US" sz="2800" dirty="0"/>
              <a:t> </a:t>
            </a:r>
            <a:r>
              <a:rPr lang="en-US" sz="2800" dirty="0" err="1"/>
              <a:t>te</a:t>
            </a:r>
            <a:r>
              <a:rPr lang="en-US" sz="2800" dirty="0"/>
              <a:t> </a:t>
            </a:r>
            <a:r>
              <a:rPr lang="en-US" sz="2800" dirty="0" err="1"/>
              <a:t>onderzoeken</a:t>
            </a:r>
            <a:r>
              <a:rPr lang="en-US" sz="2800" dirty="0"/>
              <a:t> of </a:t>
            </a:r>
            <a:r>
              <a:rPr lang="en-US" sz="2800" dirty="0" err="1"/>
              <a:t>dit</a:t>
            </a:r>
            <a:r>
              <a:rPr lang="en-US" sz="2800" dirty="0"/>
              <a:t> </a:t>
            </a:r>
            <a:r>
              <a:rPr lang="en-US" sz="2800" dirty="0" err="1"/>
              <a:t>ook</a:t>
            </a:r>
            <a:r>
              <a:rPr lang="en-US" sz="2800" dirty="0"/>
              <a:t> </a:t>
            </a:r>
            <a:r>
              <a:rPr lang="en-US" sz="2800" dirty="0" err="1"/>
              <a:t>bij</a:t>
            </a:r>
            <a:r>
              <a:rPr lang="en-US" sz="2800" dirty="0"/>
              <a:t> </a:t>
            </a:r>
            <a:r>
              <a:rPr lang="en-US" sz="2800" dirty="0" err="1"/>
              <a:t>verzekeraars</a:t>
            </a:r>
            <a:r>
              <a:rPr lang="en-US" sz="2800" dirty="0"/>
              <a:t> </a:t>
            </a:r>
            <a:r>
              <a:rPr lang="en-US" sz="2800" dirty="0" err="1"/>
              <a:t>kan</a:t>
            </a:r>
            <a:endParaRPr lang="en-US" sz="2800" dirty="0"/>
          </a:p>
          <a:p>
            <a:endParaRPr lang="en-US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/>
              <a:t>Maar: ORSA – Is het in het </a:t>
            </a:r>
            <a:r>
              <a:rPr lang="en-US" sz="2800" dirty="0" err="1"/>
              <a:t>belang</a:t>
            </a:r>
            <a:r>
              <a:rPr lang="en-US" sz="2800" dirty="0"/>
              <a:t> van de </a:t>
            </a:r>
            <a:r>
              <a:rPr lang="en-US" sz="2800" dirty="0" err="1"/>
              <a:t>polishouders</a:t>
            </a:r>
            <a:r>
              <a:rPr lang="en-US" sz="2800" dirty="0"/>
              <a:t>?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26167524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ep 10">
            <a:extLst>
              <a:ext uri="{FF2B5EF4-FFF2-40B4-BE49-F238E27FC236}">
                <a16:creationId xmlns:a16="http://schemas.microsoft.com/office/drawing/2014/main" id="{300D0923-5C89-550C-7C1A-29E921D62C20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5018968F-E402-DB70-38DD-2E20B696A04A}"/>
                </a:ext>
              </a:extLst>
            </p:cNvPr>
            <p:cNvSpPr/>
            <p:nvPr/>
          </p:nvSpPr>
          <p:spPr>
            <a:xfrm>
              <a:off x="0" y="0"/>
              <a:ext cx="12192000" cy="6857999"/>
            </a:xfrm>
            <a:prstGeom prst="rect">
              <a:avLst/>
            </a:prstGeom>
            <a:solidFill>
              <a:srgbClr val="3A3A3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65F2BEB6-8952-0FB6-8CB9-DF3FDBAF8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9870" y="558000"/>
              <a:ext cx="11452260" cy="6300000"/>
            </a:xfrm>
            <a:prstGeom prst="rect">
              <a:avLst/>
            </a:prstGeom>
          </p:spPr>
        </p:pic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360C31EB-EB1A-42A5-E172-D6BFDC93F551}"/>
                </a:ext>
              </a:extLst>
            </p:cNvPr>
            <p:cNvSpPr/>
            <p:nvPr/>
          </p:nvSpPr>
          <p:spPr>
            <a:xfrm>
              <a:off x="0" y="85725"/>
              <a:ext cx="12192000" cy="1052475"/>
            </a:xfrm>
            <a:prstGeom prst="rect">
              <a:avLst/>
            </a:prstGeom>
            <a:solidFill>
              <a:srgbClr val="3A3A3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04BE4702-00F8-814C-1606-261B311FD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Natuurrampen: weerschade naar tijd</a:t>
            </a:r>
          </a:p>
        </p:txBody>
      </p:sp>
    </p:spTree>
    <p:extLst>
      <p:ext uri="{BB962C8B-B14F-4D97-AF65-F5344CB8AC3E}">
        <p14:creationId xmlns:p14="http://schemas.microsoft.com/office/powerpoint/2010/main" val="3939108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>
            <a:extLst>
              <a:ext uri="{FF2B5EF4-FFF2-40B4-BE49-F238E27FC236}">
                <a16:creationId xmlns:a16="http://schemas.microsoft.com/office/drawing/2014/main" id="{59677979-7E04-AE3D-90E0-41B879E24E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Schade voorkomen: </a:t>
            </a:r>
            <a:r>
              <a:rPr lang="nl-NL" dirty="0" err="1"/>
              <a:t>Early</a:t>
            </a:r>
            <a:r>
              <a:rPr lang="nl-NL" dirty="0"/>
              <a:t> </a:t>
            </a:r>
            <a:r>
              <a:rPr lang="nl-NL" dirty="0" err="1"/>
              <a:t>Warning</a:t>
            </a:r>
            <a:endParaRPr lang="nl-NL" sz="3600" dirty="0"/>
          </a:p>
        </p:txBody>
      </p:sp>
      <p:pic>
        <p:nvPicPr>
          <p:cNvPr id="2" name="Afbeelding 2">
            <a:extLst>
              <a:ext uri="{FF2B5EF4-FFF2-40B4-BE49-F238E27FC236}">
                <a16:creationId xmlns:a16="http://schemas.microsoft.com/office/drawing/2014/main" id="{49935321-54C4-5D28-5C67-F265419041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836" y="1386781"/>
            <a:ext cx="6213240" cy="5165759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B33C6761-512A-47E2-6EA1-DE1D3D5D58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643" y="1307625"/>
            <a:ext cx="3644965" cy="5148000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AF6E8F2C-D188-9AA3-B42D-723C294EB702}"/>
              </a:ext>
            </a:extLst>
          </p:cNvPr>
          <p:cNvSpPr/>
          <p:nvPr/>
        </p:nvSpPr>
        <p:spPr>
          <a:xfrm>
            <a:off x="7855667" y="5926666"/>
            <a:ext cx="381257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9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ttps://www.knmi.nl/kennis-en-datacentrum/uitleg/early-warning-centre</a:t>
            </a:r>
          </a:p>
        </p:txBody>
      </p:sp>
    </p:spTree>
    <p:extLst>
      <p:ext uri="{BB962C8B-B14F-4D97-AF65-F5344CB8AC3E}">
        <p14:creationId xmlns:p14="http://schemas.microsoft.com/office/powerpoint/2010/main" val="38642488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>
            <a:extLst>
              <a:ext uri="{FF2B5EF4-FFF2-40B4-BE49-F238E27FC236}">
                <a16:creationId xmlns:a16="http://schemas.microsoft.com/office/drawing/2014/main" id="{59677979-7E04-AE3D-90E0-41B879E24E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600"/>
              <a:t>Toekomstige indeling Nederland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6E6FBC2-D03D-5DA5-4C2E-B54C619B09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17" t="1200" r="30479" b="5184"/>
          <a:stretch/>
        </p:blipFill>
        <p:spPr>
          <a:xfrm>
            <a:off x="4521200" y="1080000"/>
            <a:ext cx="4258821" cy="5778000"/>
          </a:xfrm>
          <a:prstGeom prst="rect">
            <a:avLst/>
          </a:prstGeom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7E3E2401-DC12-8181-CA2C-E675F759AC6C}"/>
              </a:ext>
            </a:extLst>
          </p:cNvPr>
          <p:cNvSpPr txBox="1"/>
          <p:nvPr/>
        </p:nvSpPr>
        <p:spPr>
          <a:xfrm>
            <a:off x="218440" y="2570480"/>
            <a:ext cx="4006602" cy="733663"/>
          </a:xfrm>
          <a:prstGeom prst="rightArrow">
            <a:avLst/>
          </a:prstGeom>
          <a:solidFill>
            <a:srgbClr val="58A618"/>
          </a:solidFill>
        </p:spPr>
        <p:txBody>
          <a:bodyPr wrap="square" rtlCol="0">
            <a:spAutoFit/>
          </a:bodyPr>
          <a:lstStyle/>
          <a:p>
            <a:r>
              <a:rPr lang="nl-NL">
                <a:solidFill>
                  <a:schemeClr val="bg1"/>
                </a:solidFill>
              </a:rPr>
              <a:t>Nieuwbouw op de juiste plekken</a:t>
            </a:r>
          </a:p>
        </p:txBody>
      </p:sp>
    </p:spTree>
    <p:extLst>
      <p:ext uri="{BB962C8B-B14F-4D97-AF65-F5344CB8AC3E}">
        <p14:creationId xmlns:p14="http://schemas.microsoft.com/office/powerpoint/2010/main" val="9347692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>
            <a:extLst>
              <a:ext uri="{FF2B5EF4-FFF2-40B4-BE49-F238E27FC236}">
                <a16:creationId xmlns:a16="http://schemas.microsoft.com/office/drawing/2014/main" id="{59677979-7E04-AE3D-90E0-41B879E24E0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600" dirty="0"/>
              <a:t>Verzekerbaarheid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E8AA060F-E253-3618-E9E0-E8F9CE37F7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78555"/>
            <a:ext cx="12192001" cy="4277895"/>
          </a:xfrm>
          <a:prstGeom prst="rect">
            <a:avLst/>
          </a:prstGeom>
        </p:spPr>
      </p:pic>
      <p:sp>
        <p:nvSpPr>
          <p:cNvPr id="5" name="Tijdelijke aanduiding voor tekst 13">
            <a:extLst>
              <a:ext uri="{FF2B5EF4-FFF2-40B4-BE49-F238E27FC236}">
                <a16:creationId xmlns:a16="http://schemas.microsoft.com/office/drawing/2014/main" id="{C765FA87-7826-7185-E543-46CF97306B06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419100" y="1244601"/>
            <a:ext cx="11258550" cy="1930400"/>
          </a:xfrm>
          <a:prstGeom prst="roundRect">
            <a:avLst>
              <a:gd name="adj" fmla="val 5497"/>
            </a:avLst>
          </a:prstGeo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Storm, natuurbrand, hagel, bliksem, sneeuw, neerslag goed verzekerbaa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Overstroming secundaire keringen inmiddels oo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Primaire keringen </a:t>
            </a:r>
            <a:r>
              <a:rPr lang="nl-NL" sz="2800" u="sng" dirty="0"/>
              <a:t>niet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36826704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CM">
            <a:extLst>
              <a:ext uri="{FF2B5EF4-FFF2-40B4-BE49-F238E27FC236}">
                <a16:creationId xmlns:a16="http://schemas.microsoft.com/office/drawing/2014/main" id="{D530F3A7-0A4F-D205-465F-7E445151551D}"/>
              </a:ext>
            </a:extLst>
          </p:cNvPr>
          <p:cNvSpPr txBox="1"/>
          <p:nvPr/>
        </p:nvSpPr>
        <p:spPr>
          <a:xfrm>
            <a:off x="8357619" y="1079466"/>
            <a:ext cx="1936168" cy="856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60" rIns="22860">
            <a:normAutofit/>
          </a:bodyPr>
          <a:lstStyle>
            <a:lvl1pPr defTabSz="825500">
              <a:defRPr sz="4100" b="1">
                <a:solidFill>
                  <a:srgbClr val="000000"/>
                </a:solidFill>
                <a:latin typeface="Arial Nova"/>
                <a:ea typeface="Arial Nova"/>
                <a:cs typeface="Arial Nova"/>
                <a:sym typeface="Arial Nova"/>
              </a:defRPr>
            </a:lvl1pPr>
          </a:lstStyle>
          <a:p>
            <a:pPr algn="ctr" defTabSz="412750" hangingPunct="0"/>
            <a:endParaRPr sz="2050" kern="0"/>
          </a:p>
        </p:txBody>
      </p:sp>
      <p:sp>
        <p:nvSpPr>
          <p:cNvPr id="3" name="Titel 24">
            <a:extLst>
              <a:ext uri="{FF2B5EF4-FFF2-40B4-BE49-F238E27FC236}">
                <a16:creationId xmlns:a16="http://schemas.microsoft.com/office/drawing/2014/main" id="{C18A4B47-6E94-A0A2-79FA-B5F16CB22480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651 w 12192000"/>
              <a:gd name="connsiteY1" fmla="*/ 0 h 900000"/>
              <a:gd name="connsiteX2" fmla="*/ 11579622 w 12192000"/>
              <a:gd name="connsiteY2" fmla="*/ 729949 h 900000"/>
              <a:gd name="connsiteX3" fmla="*/ 11587702 w 12192000"/>
              <a:gd name="connsiteY3" fmla="*/ 743970 h 900000"/>
              <a:gd name="connsiteX4" fmla="*/ 12025253 w 12192000"/>
              <a:gd name="connsiteY4" fmla="*/ 0 h 900000"/>
              <a:gd name="connsiteX5" fmla="*/ 12039705 w 12192000"/>
              <a:gd name="connsiteY5" fmla="*/ 0 h 900000"/>
              <a:gd name="connsiteX6" fmla="*/ 11640818 w 12192000"/>
              <a:gd name="connsiteY6" fmla="*/ 836138 h 900000"/>
              <a:gd name="connsiteX7" fmla="*/ 11645113 w 12192000"/>
              <a:gd name="connsiteY7" fmla="*/ 843591 h 900000"/>
              <a:gd name="connsiteX8" fmla="*/ 12133017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651" y="0"/>
                </a:lnTo>
                <a:lnTo>
                  <a:pt x="11579622" y="729949"/>
                </a:lnTo>
                <a:lnTo>
                  <a:pt x="11587702" y="743970"/>
                </a:lnTo>
                <a:lnTo>
                  <a:pt x="12025253" y="0"/>
                </a:lnTo>
                <a:lnTo>
                  <a:pt x="12039705" y="0"/>
                </a:lnTo>
                <a:lnTo>
                  <a:pt x="11640818" y="836138"/>
                </a:lnTo>
                <a:lnTo>
                  <a:pt x="11645113" y="843591"/>
                </a:lnTo>
                <a:lnTo>
                  <a:pt x="12133017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aleway Black"/>
                <a:ea typeface="+mj-ea"/>
                <a:cs typeface="+mj-cs"/>
              </a:rPr>
              <a:t>Contouren Oplossing primaire keringen</a:t>
            </a:r>
            <a:endParaRPr kumimoji="0" lang="nl-NL" sz="3600" b="0" i="0" u="sng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highlight>
                <a:srgbClr val="FF0000"/>
              </a:highlight>
              <a:uLnTx/>
              <a:uFillTx/>
              <a:latin typeface="Raleway Black"/>
              <a:ea typeface="+mj-ea"/>
              <a:cs typeface="+mj-cs"/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001" y="956435"/>
            <a:ext cx="11241998" cy="545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07460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gaan we vandaag bespreken?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6"/>
            <a:ext cx="11037988" cy="4516385"/>
          </a:xfrm>
          <a:prstGeom prst="roundRect">
            <a:avLst>
              <a:gd name="adj" fmla="val 4449"/>
            </a:avLst>
          </a:prstGeo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Klimaatverdrag Parij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EIOPA opinion </a:t>
            </a:r>
            <a:r>
              <a:rPr lang="nl-NL" sz="2800" dirty="0" err="1"/>
              <a:t>Sustainability</a:t>
            </a:r>
            <a:r>
              <a:rPr lang="nl-NL" sz="2800" dirty="0"/>
              <a:t> </a:t>
            </a:r>
            <a:r>
              <a:rPr lang="nl-NL" sz="2800" dirty="0" err="1"/>
              <a:t>within</a:t>
            </a:r>
            <a:r>
              <a:rPr lang="nl-NL" sz="2800" dirty="0"/>
              <a:t> S I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Duurzaamheid in S II</a:t>
            </a:r>
          </a:p>
          <a:p>
            <a:pPr marL="742950" lvl="2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rgbClr val="4D4D4D"/>
                </a:solidFill>
                <a:latin typeface="Raleway" panose="020B0503030101060003" pitchFamily="34" charset="0"/>
              </a:rPr>
              <a:t>Transitieplannen</a:t>
            </a:r>
            <a:endParaRPr lang="en-US" sz="2800" dirty="0">
              <a:solidFill>
                <a:srgbClr val="4D4D4D"/>
              </a:solidFill>
              <a:latin typeface="Raleway" panose="020B0503030101060003" pitchFamily="34" charset="0"/>
            </a:endParaRPr>
          </a:p>
          <a:p>
            <a:pPr marL="742950" lvl="2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4D4D4D"/>
                </a:solidFill>
                <a:latin typeface="Raleway" panose="020B0503030101060003" pitchFamily="34" charset="0"/>
              </a:rPr>
              <a:t>Green supporting factor &amp; Brown </a:t>
            </a:r>
            <a:r>
              <a:rPr lang="en-US" sz="2800" dirty="0" err="1">
                <a:solidFill>
                  <a:srgbClr val="4D4D4D"/>
                </a:solidFill>
                <a:latin typeface="Raleway" panose="020B0503030101060003" pitchFamily="34" charset="0"/>
              </a:rPr>
              <a:t>penalising</a:t>
            </a:r>
            <a:r>
              <a:rPr lang="en-US" sz="2800" dirty="0">
                <a:solidFill>
                  <a:srgbClr val="4D4D4D"/>
                </a:solidFill>
                <a:latin typeface="Raleway" panose="020B0503030101060003" pitchFamily="34" charset="0"/>
              </a:rPr>
              <a:t> factor</a:t>
            </a:r>
          </a:p>
          <a:p>
            <a:pPr marL="742950" lvl="2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rgbClr val="4D4D4D"/>
                </a:solidFill>
                <a:latin typeface="Raleway" panose="020B0503030101060003" pitchFamily="34" charset="0"/>
              </a:rPr>
              <a:t>Natuurrampen</a:t>
            </a:r>
            <a:endParaRPr lang="en-US" sz="2800" dirty="0">
              <a:solidFill>
                <a:srgbClr val="4D4D4D"/>
              </a:solidFill>
              <a:latin typeface="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7117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D71DDA7-55FD-1179-9600-E0C5673FD0D8}"/>
              </a:ext>
            </a:extLst>
          </p:cNvPr>
          <p:cNvSpPr>
            <a:spLocks noGrp="1"/>
          </p:cNvSpPr>
          <p:nvPr>
            <p:ph type="body" sz="half" idx="17"/>
          </p:nvPr>
        </p:nvSpPr>
        <p:spPr/>
        <p:txBody>
          <a:bodyPr/>
          <a:lstStyle/>
          <a:p>
            <a:r>
              <a:rPr lang="nl-NL" dirty="0"/>
              <a:t>Klimaatrisico’s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C46EA57-7E39-AF5A-5561-C05E3A061109}"/>
              </a:ext>
            </a:extLst>
          </p:cNvPr>
          <p:cNvSpPr>
            <a:spLocks noGrp="1"/>
          </p:cNvSpPr>
          <p:nvPr>
            <p:ph type="body" sz="half" idx="16"/>
          </p:nvPr>
        </p:nvSpPr>
        <p:spPr/>
        <p:txBody>
          <a:bodyPr/>
          <a:lstStyle/>
          <a:p>
            <a:r>
              <a:rPr lang="nl-NL" dirty="0"/>
              <a:t>Bodeminformatie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168B2A5-BC7D-AECC-C14D-F9ACE27300EE}"/>
              </a:ext>
            </a:extLst>
          </p:cNvPr>
          <p:cNvSpPr>
            <a:spLocks noGrp="1"/>
          </p:cNvSpPr>
          <p:nvPr>
            <p:ph type="body" sz="half" idx="15"/>
          </p:nvPr>
        </p:nvSpPr>
        <p:spPr/>
        <p:txBody>
          <a:bodyPr/>
          <a:lstStyle/>
          <a:p>
            <a:r>
              <a:rPr lang="nl-NL" dirty="0"/>
              <a:t>Funderingsrisico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0837AB4-AA1D-4B16-C141-C236328453DD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nl-NL" dirty="0"/>
              <a:t>Energielabel verplicht bij verkoop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CE3190F-8D88-F3C4-79D6-73707D95E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uurzaamheidslabel op woningen zinvol?</a:t>
            </a:r>
          </a:p>
        </p:txBody>
      </p:sp>
    </p:spTree>
    <p:extLst>
      <p:ext uri="{BB962C8B-B14F-4D97-AF65-F5344CB8AC3E}">
        <p14:creationId xmlns:p14="http://schemas.microsoft.com/office/powerpoint/2010/main" val="23617990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Conclusie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6"/>
            <a:ext cx="10970255" cy="4516385"/>
          </a:xfrm>
          <a:prstGeom prst="roundRect">
            <a:avLst>
              <a:gd name="adj" fmla="val 6544"/>
            </a:avLst>
          </a:prstGeom>
        </p:spPr>
        <p:txBody>
          <a:bodyPr>
            <a:noAutofit/>
          </a:bodyPr>
          <a:lstStyle/>
          <a:p>
            <a:pPr algn="ctr"/>
            <a:r>
              <a:rPr lang="nl-NL" sz="3800" dirty="0"/>
              <a:t>Solvency II brengt klimaatveranderingsrisico’s naar het hart van het business model van verzekeraars. </a:t>
            </a:r>
          </a:p>
          <a:p>
            <a:pPr algn="ctr"/>
            <a:r>
              <a:rPr lang="nl-NL" sz="3800" dirty="0"/>
              <a:t>En we zijn er al heel concreet mee bezig. </a:t>
            </a:r>
          </a:p>
        </p:txBody>
      </p:sp>
    </p:spTree>
    <p:extLst>
      <p:ext uri="{BB962C8B-B14F-4D97-AF65-F5344CB8AC3E}">
        <p14:creationId xmlns:p14="http://schemas.microsoft.com/office/powerpoint/2010/main" val="3102145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BD7435FA-053F-3EE0-518D-C5DC2D131A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25" b="-1"/>
          <a:stretch/>
        </p:blipFill>
        <p:spPr>
          <a:xfrm>
            <a:off x="477012" y="268905"/>
            <a:ext cx="11237975" cy="632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9720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Afbeelding met buitenshuis, rondtrekken, sneeuw, winter&#10;&#10;Automatisch gegenereerde beschrijving">
            <a:extLst>
              <a:ext uri="{FF2B5EF4-FFF2-40B4-BE49-F238E27FC236}">
                <a16:creationId xmlns:a16="http://schemas.microsoft.com/office/drawing/2014/main" id="{E46C018F-6706-C7F9-34BA-5FC3B296F7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04"/>
          <a:stretch/>
        </p:blipFill>
        <p:spPr>
          <a:xfrm>
            <a:off x="477012" y="268908"/>
            <a:ext cx="11237976" cy="6320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89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ADEB3B7B-C1F5-7E1C-0EA5-C1578B7B2E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72" b="1"/>
          <a:stretch/>
        </p:blipFill>
        <p:spPr>
          <a:xfrm>
            <a:off x="312144" y="176169"/>
            <a:ext cx="11567711" cy="6505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8942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F58D74DA-9C75-3885-C789-36C682EB59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673" y="362257"/>
            <a:ext cx="10952653" cy="613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773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FC8E1365-A551-7EB3-BBE3-6F347698C2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61"/>
          <a:stretch/>
        </p:blipFill>
        <p:spPr>
          <a:xfrm>
            <a:off x="625441" y="352383"/>
            <a:ext cx="10941117" cy="615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513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ernboodschap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6"/>
            <a:ext cx="11037988" cy="4516385"/>
          </a:xfrm>
          <a:prstGeom prst="roundRect">
            <a:avLst>
              <a:gd name="adj" fmla="val 4449"/>
            </a:avLst>
          </a:prstGeo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Solvency II brengt klimaatveranderingsrisico’s naar het hart van het business model van verzekeraa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Als sector zijn we heel concreet met diverse thema’s bezig. </a:t>
            </a:r>
          </a:p>
        </p:txBody>
      </p:sp>
    </p:spTree>
    <p:extLst>
      <p:ext uri="{BB962C8B-B14F-4D97-AF65-F5344CB8AC3E}">
        <p14:creationId xmlns:p14="http://schemas.microsoft.com/office/powerpoint/2010/main" val="369076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065CDF-BEA3-4014-8E23-5339569D2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maatverdrag Parijs 2015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29CE085F-6940-A223-21AE-50AEDFB1C5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6"/>
            <a:ext cx="10970255" cy="4516385"/>
          </a:xfrm>
          <a:prstGeom prst="roundRect">
            <a:avLst>
              <a:gd name="adj" fmla="val 4799"/>
            </a:avLst>
          </a:prstGeo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500" dirty="0"/>
              <a:t>The </a:t>
            </a:r>
            <a:r>
              <a:rPr lang="nl-NL" sz="2500" dirty="0" err="1"/>
              <a:t>Tragedy</a:t>
            </a:r>
            <a:r>
              <a:rPr lang="nl-NL" sz="2500" dirty="0"/>
              <a:t> of </a:t>
            </a:r>
            <a:r>
              <a:rPr lang="nl-NL" sz="2500" dirty="0" err="1"/>
              <a:t>the</a:t>
            </a:r>
            <a:r>
              <a:rPr lang="nl-NL" sz="2500" dirty="0"/>
              <a:t> Horizon, Speech door Mark </a:t>
            </a:r>
            <a:r>
              <a:rPr lang="nl-NL" sz="2500" dirty="0" err="1"/>
              <a:t>Carney</a:t>
            </a:r>
            <a:r>
              <a:rPr lang="nl-NL" sz="2500" dirty="0"/>
              <a:t> (</a:t>
            </a:r>
            <a:r>
              <a:rPr lang="nl-NL" sz="2500" dirty="0" err="1"/>
              <a:t>Governor</a:t>
            </a:r>
            <a:r>
              <a:rPr lang="nl-NL" sz="2500" dirty="0"/>
              <a:t> Bank of England, 2013-2020) bij Lloyds in Lo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500" i="1" dirty="0"/>
              <a:t>Tragedy of the horizon </a:t>
            </a:r>
            <a:r>
              <a:rPr lang="en-US" sz="2500" dirty="0"/>
              <a:t>= </a:t>
            </a:r>
            <a:r>
              <a:rPr lang="nl-NL" sz="2500" dirty="0"/>
              <a:t>de catastrofale gevolgen van klimaatverandering zullen voor toekomstige generaties kosten (“externe effecten”) met zich meebrengen die de huidige generatie niet wil verhelpen (vgl. </a:t>
            </a:r>
            <a:r>
              <a:rPr lang="nl-NL" sz="2500" i="1" dirty="0" err="1"/>
              <a:t>tragedy</a:t>
            </a:r>
            <a:r>
              <a:rPr lang="nl-NL" sz="2500" i="1" dirty="0"/>
              <a:t> of </a:t>
            </a:r>
            <a:r>
              <a:rPr lang="nl-NL" sz="2500" i="1" dirty="0" err="1"/>
              <a:t>the</a:t>
            </a:r>
            <a:r>
              <a:rPr lang="nl-NL" sz="2500" i="1" dirty="0"/>
              <a:t> </a:t>
            </a:r>
            <a:r>
              <a:rPr lang="nl-NL" sz="2500" i="1" dirty="0" err="1"/>
              <a:t>commons</a:t>
            </a:r>
            <a:r>
              <a:rPr lang="nl-NL" sz="2500" dirty="0"/>
              <a:t>) </a:t>
            </a:r>
            <a:endParaRPr lang="en-US" sz="2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500" dirty="0"/>
              <a:t>verzekeraars zijn blootgesteld aan de </a:t>
            </a:r>
            <a:r>
              <a:rPr lang="nl-NL" sz="2500" b="1" dirty="0"/>
              <a:t>drie</a:t>
            </a:r>
            <a:r>
              <a:rPr lang="nl-NL" sz="2500" dirty="0"/>
              <a:t> </a:t>
            </a:r>
            <a:r>
              <a:rPr lang="nl-NL" sz="2500" b="1" dirty="0"/>
              <a:t>risico’s</a:t>
            </a:r>
            <a:r>
              <a:rPr lang="nl-NL" sz="2500" dirty="0"/>
              <a:t> die klimaatverandering met zich meebrengt voor de financiële sector</a:t>
            </a:r>
            <a:endParaRPr lang="nl-NL" sz="2500" i="1" dirty="0"/>
          </a:p>
          <a:p>
            <a:pPr marL="742950" lvl="2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nl-NL" i="1" dirty="0">
                <a:solidFill>
                  <a:srgbClr val="4D4D4D"/>
                </a:solidFill>
                <a:latin typeface="Raleway" panose="020B0503030101060003" pitchFamily="34" charset="0"/>
              </a:rPr>
              <a:t>fysieke risico’s </a:t>
            </a:r>
          </a:p>
          <a:p>
            <a:pPr marL="742950" lvl="2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nl-NL" i="1" dirty="0">
                <a:solidFill>
                  <a:srgbClr val="4D4D4D"/>
                </a:solidFill>
                <a:latin typeface="Raleway" panose="020B0503030101060003" pitchFamily="34" charset="0"/>
              </a:rPr>
              <a:t>aansprakelijkheidsrisico’s </a:t>
            </a:r>
          </a:p>
          <a:p>
            <a:pPr marL="742950" lvl="2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nl-NL" i="1" dirty="0">
                <a:solidFill>
                  <a:srgbClr val="4D4D4D"/>
                </a:solidFill>
                <a:latin typeface="Raleway" panose="020B0503030101060003" pitchFamily="34" charset="0"/>
              </a:rPr>
              <a:t>transitierisico’s</a:t>
            </a:r>
          </a:p>
        </p:txBody>
      </p:sp>
    </p:spTree>
    <p:extLst>
      <p:ext uri="{BB962C8B-B14F-4D97-AF65-F5344CB8AC3E}">
        <p14:creationId xmlns:p14="http://schemas.microsoft.com/office/powerpoint/2010/main" val="28595687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3,4643"/>
  <p:tag name="ADV_LEFT" val="148,4791"/>
  <p:tag name="ADV_HEIGHT" val="14,54063"/>
  <p:tag name="ADV_WIDTH" val="364,0209"/>
  <p:tag name="ADV_COPYRIGH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angepast 1">
      <a:majorFont>
        <a:latin typeface="Raleway Black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angepast 3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angepast 2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Policy Label Generator</Name>
    <Synchronization>Synchronous</Synchronization>
    <Type>10001</Type>
    <SequenceNumber>1000</SequenceNumber>
    <Url/>
    <Assembly>Microsoft.Office.Policy, Version=16.0.0.0, Culture=neutral, PublicKeyToken=71e9bce111e9429c</Assembly>
    <Class>Microsoft.Office.RecordsManagement.Internal.LabelHandler</Class>
    <Data/>
    <Filter/>
  </Receiver>
  <Receiver>
    <Name>Policy Label Generator</Name>
    <Synchronization>Synchronous</Synchronization>
    <Type>10002</Type>
    <SequenceNumber>1001</SequenceNumber>
    <Url/>
    <Assembly>Microsoft.Office.Policy, Version=16.0.0.0, Culture=neutral, PublicKeyToken=71e9bce111e9429c</Assembly>
    <Class>Microsoft.Office.RecordsManagement.Internal.LabelHandler</Class>
    <Data/>
    <Filter/>
  </Receiver>
  <Receiver>
    <Name>Policy Label Generator</Name>
    <Synchronization>Synchronous</Synchronization>
    <Type>10004</Type>
    <SequenceNumber>1002</SequenceNumber>
    <Url/>
    <Assembly>Microsoft.Office.Policy, Version=16.0.0.0, Culture=neutral, PublicKeyToken=71e9bce111e9429c</Assembly>
    <Class>Microsoft.Office.RecordsManagement.Internal.LabelHandler</Class>
    <Data/>
    <Filter/>
  </Receiver>
  <Receiver>
    <Name>Policy Label Generator</Name>
    <Synchronization>Synchronous</Synchronization>
    <Type>10006</Type>
    <SequenceNumber>1003</SequenceNumber>
    <Url/>
    <Assembly>Microsoft.Office.Policy, Version=16.0.0.0, Culture=neutral, PublicKeyToken=71e9bce111e9429c</Assembly>
    <Class>Microsoft.Office.RecordsManagement.Internal.LabelHandler</Class>
    <Data/>
    <Filter/>
  </Receiver>
</spe:Receivers>
</file>

<file path=customXml/item3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4.xml><?xml version="1.0" encoding="utf-8"?>
<?mso-contentType ?>
<SharedContentType xmlns="Microsoft.SharePoint.Taxonomy.ContentTypeSync" SourceId="60fb6c6a-c0d2-4edd-84cb-f070128f5499" ContentTypeId="0x010100BA1D3F729B6F774A9C4C717B1554648911" PreviousValue="true"/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bondStatus xmlns="2f946db7-5b91-4dca-a061-2794fba10647" xsi:nil="true"/>
    <VerbondClassificatie xmlns="2f946db7-5b91-4dca-a061-2794fba10647" xsi:nil="true"/>
    <DLCPolicyLabelLock xmlns="a172fef1-6015-4b38-98d7-982327efe194" xsi:nil="true"/>
    <VerbondBewerkercode xmlns="2f946db7-5b91-4dca-a061-2794fba10647" xsi:nil="true"/>
    <p857317423614a359f7792c14a99f009 xmlns="2f946db7-5b91-4dca-a061-2794fba10647">
      <Terms xmlns="http://schemas.microsoft.com/office/infopath/2007/PartnerControls"/>
    </p857317423614a359f7792c14a99f009>
    <DLCPolicyLabelClientValue xmlns="a172fef1-6015-4b38-98d7-982327efe194" xsi:nil="true"/>
    <VerbondOnderwerp xmlns="2f946db7-5b91-4dca-a061-2794fba10647" xsi:nil="true"/>
    <VerbondDagtekening xmlns="2f946db7-5b91-4dca-a061-2794fba10647">2022-12-29T10:18:33+00:00</VerbondDagtekening>
    <DLCPolicyLabelValue xmlns="a172fef1-6015-4b38-98d7-982327efe194">2023-876322534-41736</DLCPolicyLabelValue>
    <TaxKeywordTaxHTField xmlns="a172fef1-6015-4b38-98d7-982327efe194">
      <Terms xmlns="http://schemas.microsoft.com/office/infopath/2007/PartnerControls"/>
    </TaxKeywordTaxHTField>
    <TaxCatchAll xmlns="9a05ee57-1d55-47ba-b361-2162d0f1b7c1" xsi:nil="true"/>
    <_dlc_DocId xmlns="2f946db7-5b91-4dca-a061-2794fba10647">2023-876322534-41736</_dlc_DocId>
    <_dlc_DocIdUrl xmlns="2f946db7-5b91-4dca-a061-2794fba10647">
      <Url>https://verzekeraarsnl.sharepoint.com/sites/1875346/_layouts/15/DocIdRedir.aspx?ID=2023-876322534-41736</Url>
      <Description>2023-876322534-41736</Description>
    </_dlc_DocIdUrl>
  </documentManagement>
</p:properti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Blanco" ma:contentTypeID="0x010100BA1D3F729B6F774A9C4C717B15546489110022124D5647B1AD4ABAE5715052AF5780" ma:contentTypeVersion="638" ma:contentTypeDescription="Create a new document." ma:contentTypeScope="" ma:versionID="8f5dd5f34c9d794eb3b722af6e6407de">
  <xsd:schema xmlns:xsd="http://www.w3.org/2001/XMLSchema" xmlns:xs="http://www.w3.org/2001/XMLSchema" xmlns:p="http://schemas.microsoft.com/office/2006/metadata/properties" xmlns:ns1="2f946db7-5b91-4dca-a061-2794fba10647" xmlns:ns2="a172fef1-6015-4b38-98d7-982327efe194" xmlns:ns4="9a05ee57-1d55-47ba-b361-2162d0f1b7c1" xmlns:ns5="5d20a9a4-5b5d-4ab7-84f6-0e5be2f1e45f" targetNamespace="http://schemas.microsoft.com/office/2006/metadata/properties" ma:root="true" ma:fieldsID="299524201047387dbfee4b4e733d7f7d" ns1:_="" ns2:_="" ns4:_="" ns5:_="">
    <xsd:import namespace="2f946db7-5b91-4dca-a061-2794fba10647"/>
    <xsd:import namespace="a172fef1-6015-4b38-98d7-982327efe194"/>
    <xsd:import namespace="9a05ee57-1d55-47ba-b361-2162d0f1b7c1"/>
    <xsd:import namespace="5d20a9a4-5b5d-4ab7-84f6-0e5be2f1e45f"/>
    <xsd:element name="properties">
      <xsd:complexType>
        <xsd:sequence>
          <xsd:element name="documentManagement">
            <xsd:complexType>
              <xsd:all>
                <xsd:element ref="ns1:VerbondOnderwerp" minOccurs="0"/>
                <xsd:element ref="ns1:VerbondBewerkercode" minOccurs="0"/>
                <xsd:element ref="ns1:VerbondDagtekening" minOccurs="0"/>
                <xsd:element ref="ns1:VerbondStatus" minOccurs="0"/>
                <xsd:element ref="ns1:VerbondClassificatie" minOccurs="0"/>
                <xsd:element ref="ns1:_dlc_DocId" minOccurs="0"/>
                <xsd:element ref="ns1:_dlc_DocIdUrl" minOccurs="0"/>
                <xsd:element ref="ns1:p857317423614a359f7792c14a99f009" minOccurs="0"/>
                <xsd:element ref="ns4:TaxCatchAll" minOccurs="0"/>
                <xsd:element ref="ns4:TaxCatchAllLabel" minOccurs="0"/>
                <xsd:element ref="ns1:_dlc_DocIdPersistId" minOccurs="0"/>
                <xsd:element ref="ns2:DLCPolicyLabelValue" minOccurs="0"/>
                <xsd:element ref="ns2:DLCPolicyLabelClientValue" minOccurs="0"/>
                <xsd:element ref="ns2:DLCPolicyLabelLock" minOccurs="0"/>
                <xsd:element ref="ns2:TaxKeywordTaxHTField" minOccurs="0"/>
                <xsd:element ref="ns5:MediaServiceAutoKeyPoints" minOccurs="0"/>
                <xsd:element ref="ns5:MediaServiceKeyPoints" minOccurs="0"/>
                <xsd:element ref="ns5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946db7-5b91-4dca-a061-2794fba10647" elementFormDefault="qualified">
    <xsd:import namespace="http://schemas.microsoft.com/office/2006/documentManagement/types"/>
    <xsd:import namespace="http://schemas.microsoft.com/office/infopath/2007/PartnerControls"/>
    <xsd:element name="VerbondOnderwerp" ma:index="0" nillable="true" ma:displayName="Onderwerp." ma:internalName="VerbondOnderwerp">
      <xsd:simpleType>
        <xsd:restriction base="dms:Note">
          <xsd:maxLength value="255"/>
        </xsd:restriction>
      </xsd:simpleType>
    </xsd:element>
    <xsd:element name="VerbondBewerkercode" ma:index="1" nillable="true" ma:displayName="Bewerkercode" ma:internalName="VerbondBewerkercode">
      <xsd:simpleType>
        <xsd:restriction base="dms:Text">
          <xsd:maxLength value="10"/>
        </xsd:restriction>
      </xsd:simpleType>
    </xsd:element>
    <xsd:element name="VerbondDagtekening" ma:index="2" nillable="true" ma:displayName="Dagtekening" ma:default="[today]" ma:format="DateOnly" ma:internalName="VerbondDagtekening">
      <xsd:simpleType>
        <xsd:restriction base="dms:DateTime"/>
      </xsd:simpleType>
    </xsd:element>
    <xsd:element name="VerbondStatus" ma:index="3" nillable="true" ma:displayName="Status." ma:format="Dropdown" ma:internalName="VerbondStatus">
      <xsd:simpleType>
        <xsd:restriction base="dms:Choice">
          <xsd:enumeration value="-"/>
          <xsd:enumeration value="Concept"/>
          <xsd:enumeration value="Definitief"/>
          <xsd:enumeration value="Draft"/>
          <xsd:enumeration value="Final"/>
        </xsd:restriction>
      </xsd:simpleType>
    </xsd:element>
    <xsd:element name="VerbondClassificatie" ma:index="4" nillable="true" ma:displayName="Classificatie" ma:format="Dropdown" ma:internalName="VerbondClassificatie">
      <xsd:simpleType>
        <xsd:restriction base="dms:Choice">
          <xsd:enumeration value="-"/>
          <xsd:enumeration value="Vertrouwelijk"/>
          <xsd:enumeration value="Geheim"/>
          <xsd:enumeration value="Persoonlijk"/>
          <xsd:enumeration value="Private and Confidential"/>
        </xsd:restriction>
      </xsd:simpleType>
    </xsd:element>
    <xsd:element name="_dlc_DocId" ma:index="12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p857317423614a359f7792c14a99f009" ma:index="14" nillable="true" ma:taxonomy="true" ma:internalName="p857317423614a359f7792c14a99f009" ma:taxonomyFieldName="Thesaurus" ma:displayName="Thesaurus" ma:default="" ma:fieldId="{98573174-2361-4a35-9f77-92c14a99f009}" ma:taxonomyMulti="true" ma:sspId="60fb6c6a-c0d2-4edd-84cb-f070128f5499" ma:termSetId="fa7f8da1-eccc-4042-88af-e2669da3c3e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PersistId" ma:index="17" nillable="true" ma:displayName="Id blijven behouden" ma:description="Id behouden tijdens toevoegen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72fef1-6015-4b38-98d7-982327efe194" elementFormDefault="qualified">
    <xsd:import namespace="http://schemas.microsoft.com/office/2006/documentManagement/types"/>
    <xsd:import namespace="http://schemas.microsoft.com/office/infopath/2007/PartnerControls"/>
    <xsd:element name="DLCPolicyLabelValue" ma:index="20" nillable="true" ma:displayName="Label" ma:description="Hier wordt de huidige waarde van het label opgeslagen." ma:internalName="DLCPolicyLabelValue" ma:readOnly="true">
      <xsd:simpleType>
        <xsd:restriction base="dms:Note">
          <xsd:maxLength value="255"/>
        </xsd:restriction>
      </xsd:simpleType>
    </xsd:element>
    <xsd:element name="DLCPolicyLabelClientValue" ma:index="21" nillable="true" ma:displayName="Labelwaarde van client" ma:description="De laatste labelwaarde die op de client is berekend." ma:hidden="true" ma:internalName="DLCPolicyLabelClientValue" ma:readOnly="false">
      <xsd:simpleType>
        <xsd:restriction base="dms:Note"/>
      </xsd:simpleType>
    </xsd:element>
    <xsd:element name="DLCPolicyLabelLock" ma:index="22" nillable="true" ma:displayName="Label vergrendeld" ma:description="Geeft aan of het label moet worden bijgewerkt als de itemeigenschappen worden gewijzigd." ma:hidden="true" ma:internalName="DLCPolicyLabelLock" ma:readOnly="false">
      <xsd:simpleType>
        <xsd:restriction base="dms:Text">
          <xsd:maxLength value="255"/>
        </xsd:restriction>
      </xsd:simpleType>
    </xsd:element>
    <xsd:element name="TaxKeywordTaxHTField" ma:index="23" nillable="true" ma:taxonomy="true" ma:internalName="TaxKeywordTaxHTField" ma:taxonomyFieldName="TaxKeyword" ma:displayName="Ondernemingstrefwoorden" ma:fieldId="{23f27201-bee3-471e-b2e7-b64fd8b7ca38}" ma:taxonomyMulti="true" ma:sspId="60fb6c6a-c0d2-4edd-84cb-f070128f549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05ee57-1d55-47ba-b361-2162d0f1b7c1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description="" ma:hidden="true" ma:list="{5aabf6cf-91d1-424a-a41c-8b06f5d4928b}" ma:internalName="TaxCatchAll" ma:showField="CatchAllData" ma:web="9a05ee57-1d55-47ba-b361-2162d0f1b7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6" nillable="true" ma:displayName="Taxonomy Catch All Column1" ma:description="" ma:hidden="true" ma:list="{5aabf6cf-91d1-424a-a41c-8b06f5d4928b}" ma:internalName="TaxCatchAllLabel" ma:readOnly="true" ma:showField="CatchAllDataLabel" ma:web="9a05ee57-1d55-47ba-b361-2162d0f1b7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20a9a4-5b5d-4ab7-84f6-0e5be2f1e45f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2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9" ma:displayName="Inhoudstype"/>
        <xsd:element ref="dc:title" minOccurs="0" maxOccurs="1" ma:index="7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?mso-contentType ?>
<p:Policy xmlns:p="office.server.policy" id="" local="true">
  <p:Name>Verbond Document</p:Name>
  <p:Description/>
  <p:Statement/>
  <p:PolicyItems>
    <p:PolicyItem featureId="Microsoft.Office.RecordsManagement.PolicyFeatures.PolicyLabel" staticId="0x010100BA1D3F729B6F774A9C4C717B15546489|666758081" UniqueId="9794685c-2944-48c1-93f3-3df3994c7e19">
      <p:Name>Labels</p:Name>
      <p:Description>Hiermee kunt u labels genereren die in Microsoft Office-documenten kunnen worden ingevoegd zodat documenteigenschappen of andere belangrijke informatie bij het afdrukken wordt afgedrukt. Met labels kan ook naar documenten worden gezocht.</p:Description>
      <p:CustomData>
        <label>
          <properties>
            <width>1.5748031496063</width>
            <height>0.78740157480315</height>
            <justification>Left</justification>
            <font>Arial</font>
          </properties>
          <segment type="metadata">_dlc_DocId</segment>
        </label>
      </p:CustomData>
    </p:PolicyItem>
  </p:PolicyItems>
</p:Policy>
</file>

<file path=customXml/itemProps1.xml><?xml version="1.0" encoding="utf-8"?>
<ds:datastoreItem xmlns:ds="http://schemas.openxmlformats.org/officeDocument/2006/customXml" ds:itemID="{70082111-925B-4FC1-ABB3-829974AE8EA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864DE1-81E1-486B-8933-206B7B99221C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EE8596A3-8009-4A22-85D6-BE9AD645E8B1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85DD654C-62E9-41DA-B5E9-1F44F3B9FF0F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11B5579F-31F6-42B6-8257-BB3A3FD3C503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946db7-5b91-4dca-a061-2794fba10647"/>
    <ds:schemaRef ds:uri="http://purl.org/dc/elements/1.1/"/>
    <ds:schemaRef ds:uri="5d20a9a4-5b5d-4ab7-84f6-0e5be2f1e45f"/>
    <ds:schemaRef ds:uri="9a05ee57-1d55-47ba-b361-2162d0f1b7c1"/>
    <ds:schemaRef ds:uri="a172fef1-6015-4b38-98d7-982327efe194"/>
    <ds:schemaRef ds:uri="http://www.w3.org/XML/1998/namespace"/>
    <ds:schemaRef ds:uri="http://purl.org/dc/dcmitype/"/>
  </ds:schemaRefs>
</ds:datastoreItem>
</file>

<file path=customXml/itemProps6.xml><?xml version="1.0" encoding="utf-8"?>
<ds:datastoreItem xmlns:ds="http://schemas.openxmlformats.org/officeDocument/2006/customXml" ds:itemID="{17BB61AF-B6CE-4A25-8B77-B5128AD035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946db7-5b91-4dca-a061-2794fba10647"/>
    <ds:schemaRef ds:uri="a172fef1-6015-4b38-98d7-982327efe194"/>
    <ds:schemaRef ds:uri="9a05ee57-1d55-47ba-b361-2162d0f1b7c1"/>
    <ds:schemaRef ds:uri="5d20a9a4-5b5d-4ab7-84f6-0e5be2f1e4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7.xml><?xml version="1.0" encoding="utf-8"?>
<ds:datastoreItem xmlns:ds="http://schemas.openxmlformats.org/officeDocument/2006/customXml" ds:itemID="{337F9A5C-E666-4023-9ECF-3AA5C61CABC8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46</TotalTime>
  <Words>493</Words>
  <Application>Microsoft Office PowerPoint</Application>
  <PresentationFormat>Breedbeeld</PresentationFormat>
  <Paragraphs>94</Paragraphs>
  <Slides>21</Slides>
  <Notes>2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1</vt:i4>
      </vt:variant>
    </vt:vector>
  </HeadingPairs>
  <TitlesOfParts>
    <vt:vector size="28" baseType="lpstr">
      <vt:lpstr>Raleway Black</vt:lpstr>
      <vt:lpstr>Raleway</vt:lpstr>
      <vt:lpstr>Arial Nova</vt:lpstr>
      <vt:lpstr>Arial</vt:lpstr>
      <vt:lpstr>Kantoorthema</vt:lpstr>
      <vt:lpstr>1_KPMG Widescreen [16:9] Feb 2022</vt:lpstr>
      <vt:lpstr>think-cell Slide</vt:lpstr>
      <vt:lpstr>Duurzaamheid in Solvency II</vt:lpstr>
      <vt:lpstr>Wat gaan we vandaag bespreken?</vt:lpstr>
      <vt:lpstr>PowerPoint-presentatie</vt:lpstr>
      <vt:lpstr>PowerPoint-presentatie</vt:lpstr>
      <vt:lpstr>PowerPoint-presentatie</vt:lpstr>
      <vt:lpstr>PowerPoint-presentatie</vt:lpstr>
      <vt:lpstr>PowerPoint-presentatie</vt:lpstr>
      <vt:lpstr>Kernboodschap</vt:lpstr>
      <vt:lpstr>Klimaatverdrag Parijs 2015</vt:lpstr>
      <vt:lpstr>Klimaatverdrag Parijs 2015</vt:lpstr>
      <vt:lpstr>EIOPA opinion Sustainability within S II</vt:lpstr>
      <vt:lpstr>Duurzaamheid in Review 2020 Solvency II</vt:lpstr>
      <vt:lpstr>Transitieplannen</vt:lpstr>
      <vt:lpstr>Green supporting– en brown penalising factor</vt:lpstr>
      <vt:lpstr>Natuurrampen: weerschade naar tijd</vt:lpstr>
      <vt:lpstr>Schade voorkomen: Early Warning</vt:lpstr>
      <vt:lpstr>Toekomstige indeling Nederland</vt:lpstr>
      <vt:lpstr>Verzekerbaarheid</vt:lpstr>
      <vt:lpstr>PowerPoint-presentatie</vt:lpstr>
      <vt:lpstr>Duurzaamheidslabel op woningen zinvol?</vt:lpstr>
      <vt:lpstr>Conclus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Hans Rietveld</dc:creator>
  <cp:lastModifiedBy>Hielkema, Carolien</cp:lastModifiedBy>
  <cp:revision>15</cp:revision>
  <cp:lastPrinted>2023-11-23T12:44:18Z</cp:lastPrinted>
  <dcterms:created xsi:type="dcterms:W3CDTF">2022-12-22T07:22:41Z</dcterms:created>
  <dcterms:modified xsi:type="dcterms:W3CDTF">2023-11-23T23:2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1D3F729B6F774A9C4C717B15546489110022124D5647B1AD4ABAE5715052AF5780</vt:lpwstr>
  </property>
  <property fmtid="{D5CDD505-2E9C-101B-9397-08002B2CF9AE}" pid="3" name="_dlc_DocIdItemGuid">
    <vt:lpwstr>04a67d9b-c5c9-459f-b7bd-4bb78030c788</vt:lpwstr>
  </property>
  <property fmtid="{D5CDD505-2E9C-101B-9397-08002B2CF9AE}" pid="4" name="p6760fdd06c5428ba5c2d2c5a4c9f799">
    <vt:lpwstr/>
  </property>
  <property fmtid="{D5CDD505-2E9C-101B-9397-08002B2CF9AE}" pid="5" name="TaxKeyword">
    <vt:lpwstr/>
  </property>
  <property fmtid="{D5CDD505-2E9C-101B-9397-08002B2CF9AE}" pid="6" name="bd38a6d94e8c47ec9a4dcb3a9307b785">
    <vt:lpwstr/>
  </property>
  <property fmtid="{D5CDD505-2E9C-101B-9397-08002B2CF9AE}" pid="7" name="VerbondGevraagdeActie">
    <vt:lpwstr/>
  </property>
  <property fmtid="{D5CDD505-2E9C-101B-9397-08002B2CF9AE}" pid="8" name="VerbondAfdeling">
    <vt:lpwstr/>
  </property>
  <property fmtid="{D5CDD505-2E9C-101B-9397-08002B2CF9AE}" pid="9" name="a97f66e0f358421d95b00d13508722e1">
    <vt:lpwstr/>
  </property>
  <property fmtid="{D5CDD505-2E9C-101B-9397-08002B2CF9AE}" pid="10" name="VerbondAan">
    <vt:lpwstr/>
  </property>
  <property fmtid="{D5CDD505-2E9C-101B-9397-08002B2CF9AE}" pid="11" name="VerbondSector">
    <vt:lpwstr/>
  </property>
  <property fmtid="{D5CDD505-2E9C-101B-9397-08002B2CF9AE}" pid="12" name="Thesaurus">
    <vt:lpwstr/>
  </property>
  <property fmtid="{D5CDD505-2E9C-101B-9397-08002B2CF9AE}" pid="13" name="jafc44dd874a4c3bafc7d26630e142c3">
    <vt:lpwstr/>
  </property>
  <property fmtid="{D5CDD505-2E9C-101B-9397-08002B2CF9AE}" pid="14" name="SharedWithUsers">
    <vt:lpwstr>41;#Heeneman, Maarten;#78;#Beugel, Marieke;#92;#Sollman, Gerard Frank;#521;#SharingLinks.85502217-7404-4b0b-b001-5304bb0c15e7.Flexible.b736f3e9-02c2-4f6f-a046-270ea48c046f;#93;#Rest, Barbara van der;#104;#Leeuwen-Blom, J.H. (Anky) van;#20;#Schaffers, Jos;#189;#Brinkman, Timo</vt:lpwstr>
  </property>
  <property fmtid="{D5CDD505-2E9C-101B-9397-08002B2CF9AE}" pid="15" name="MediaServiceImageTags">
    <vt:lpwstr/>
  </property>
  <property fmtid="{D5CDD505-2E9C-101B-9397-08002B2CF9AE}" pid="16" name="kbfc532a54824828916d1e6549818fb0">
    <vt:lpwstr/>
  </property>
  <property fmtid="{D5CDD505-2E9C-101B-9397-08002B2CF9AE}" pid="17" name="Trefwoorden_x0020_Vrij">
    <vt:lpwstr/>
  </property>
  <property fmtid="{D5CDD505-2E9C-101B-9397-08002B2CF9AE}" pid="18" name="Trefwoorden Vrij">
    <vt:lpwstr/>
  </property>
</Properties>
</file>